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7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8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9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10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11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1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1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1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1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7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8.xml" ContentType="application/vnd.openxmlformats-officedocument.theme+xml"/>
  <Override PartName="/ppt/theme/themeOverride1.xml" ContentType="application/vnd.openxmlformats-officedocument.themeOverride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4"/>
    <p:sldMasterId id="2147483658" r:id="rId5"/>
    <p:sldMasterId id="2147483754" r:id="rId6"/>
    <p:sldMasterId id="2147483760" r:id="rId7"/>
    <p:sldMasterId id="2147483763" r:id="rId8"/>
    <p:sldMasterId id="2147483770" r:id="rId9"/>
    <p:sldMasterId id="2147483773" r:id="rId10"/>
    <p:sldMasterId id="2147483777" r:id="rId11"/>
    <p:sldMasterId id="2147483781" r:id="rId12"/>
    <p:sldMasterId id="2147483785" r:id="rId13"/>
    <p:sldMasterId id="2147483813" r:id="rId14"/>
    <p:sldMasterId id="2147483818" r:id="rId15"/>
    <p:sldMasterId id="2147483823" r:id="rId16"/>
    <p:sldMasterId id="2147483826" r:id="rId17"/>
    <p:sldMasterId id="2147483840" r:id="rId18"/>
    <p:sldMasterId id="2147483853" r:id="rId19"/>
    <p:sldMasterId id="2147483866" r:id="rId20"/>
    <p:sldMasterId id="2147483870" r:id="rId21"/>
  </p:sldMasterIdLst>
  <p:notesMasterIdLst>
    <p:notesMasterId r:id="rId49"/>
  </p:notesMasterIdLst>
  <p:handoutMasterIdLst>
    <p:handoutMasterId r:id="rId50"/>
  </p:handoutMasterIdLst>
  <p:sldIdLst>
    <p:sldId id="2134805770" r:id="rId22"/>
    <p:sldId id="2134805771" r:id="rId23"/>
    <p:sldId id="2134805762" r:id="rId24"/>
    <p:sldId id="2134805793" r:id="rId25"/>
    <p:sldId id="737" r:id="rId26"/>
    <p:sldId id="2134805777" r:id="rId27"/>
    <p:sldId id="2134805780" r:id="rId28"/>
    <p:sldId id="756" r:id="rId29"/>
    <p:sldId id="2134805778" r:id="rId30"/>
    <p:sldId id="2134805773" r:id="rId31"/>
    <p:sldId id="2134805785" r:id="rId32"/>
    <p:sldId id="2134805789" r:id="rId33"/>
    <p:sldId id="2134805788" r:id="rId34"/>
    <p:sldId id="2134805786" r:id="rId35"/>
    <p:sldId id="2134805774" r:id="rId36"/>
    <p:sldId id="2134805791" r:id="rId37"/>
    <p:sldId id="2134805790" r:id="rId38"/>
    <p:sldId id="2134805783" r:id="rId39"/>
    <p:sldId id="2134805748" r:id="rId40"/>
    <p:sldId id="357" r:id="rId41"/>
    <p:sldId id="1185" r:id="rId42"/>
    <p:sldId id="2134805779" r:id="rId43"/>
    <p:sldId id="2134805784" r:id="rId44"/>
    <p:sldId id="2134805781" r:id="rId45"/>
    <p:sldId id="307" r:id="rId46"/>
    <p:sldId id="327" r:id="rId47"/>
    <p:sldId id="1235" r:id="rId48"/>
  </p:sldIdLst>
  <p:sldSz cx="12192000" cy="6858000"/>
  <p:notesSz cx="6797675" cy="9926638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74" userDrawn="1">
          <p15:clr>
            <a:srgbClr val="A4A3A4"/>
          </p15:clr>
        </p15:guide>
        <p15:guide id="3" orient="horz" pos="667" userDrawn="1">
          <p15:clr>
            <a:srgbClr val="A4A3A4"/>
          </p15:clr>
        </p15:guide>
        <p15:guide id="4" orient="horz" pos="3997" userDrawn="1">
          <p15:clr>
            <a:srgbClr val="A4A3A4"/>
          </p15:clr>
        </p15:guide>
        <p15:guide id="5" pos="1164" userDrawn="1">
          <p15:clr>
            <a:srgbClr val="A4A3A4"/>
          </p15:clr>
        </p15:guide>
        <p15:guide id="6" pos="4089" userDrawn="1">
          <p15:clr>
            <a:srgbClr val="A4A3A4"/>
          </p15:clr>
        </p15:guide>
        <p15:guide id="7" pos="5927" userDrawn="1">
          <p15:clr>
            <a:srgbClr val="A4A3A4"/>
          </p15:clr>
        </p15:guide>
        <p15:guide id="8" pos="3784" userDrawn="1">
          <p15:clr>
            <a:srgbClr val="A4A3A4"/>
          </p15:clr>
        </p15:guide>
        <p15:guide id="9" pos="5613" userDrawn="1">
          <p15:clr>
            <a:srgbClr val="A4A3A4"/>
          </p15:clr>
        </p15:guide>
        <p15:guide id="10" pos="6916" userDrawn="1">
          <p15:clr>
            <a:srgbClr val="A4A3A4"/>
          </p15:clr>
        </p15:guide>
        <p15:guide id="11" orient="horz" pos="1601" userDrawn="1">
          <p15:clr>
            <a:srgbClr val="A4A3A4"/>
          </p15:clr>
        </p15:guide>
        <p15:guide id="12" orient="horz" pos="35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Juan Antonio Cabrera Reverte" initials="JACR" lastIdx="1" clrIdx="6">
    <p:extLst>
      <p:ext uri="{19B8F6BF-5375-455C-9EA6-DF929625EA0E}">
        <p15:presenceInfo xmlns:p15="http://schemas.microsoft.com/office/powerpoint/2012/main" userId="S::A121968@nube.bankia.com::7e642901-6976-4367-93e8-0bfb686c5da0" providerId="AD"/>
      </p:ext>
    </p:extLst>
  </p:cmAuthor>
  <p:cmAuthor id="1" name="JAVIER IBAÑEZ DE ALDECOA FUSTER" initials="JIDAF" lastIdx="3" clrIdx="0">
    <p:extLst>
      <p:ext uri="{19B8F6BF-5375-455C-9EA6-DF929625EA0E}">
        <p15:presenceInfo xmlns:p15="http://schemas.microsoft.com/office/powerpoint/2012/main" userId="S::U0143503@lacaixa.es::8675f4fe-527d-41ba-8276-e77269e27e6f" providerId="AD"/>
      </p:ext>
    </p:extLst>
  </p:cmAuthor>
  <p:cmAuthor id="2" name="BEATRIZ CARMEN VILLAFRANCA SERRANO" initials="BCVS" lastIdx="2" clrIdx="1">
    <p:extLst>
      <p:ext uri="{19B8F6BF-5375-455C-9EA6-DF929625EA0E}">
        <p15:presenceInfo xmlns:p15="http://schemas.microsoft.com/office/powerpoint/2012/main" userId="S::U0166900@lacaixa.es::731f2fb1-0d06-473d-86d6-65a8fde75bb8" providerId="AD"/>
      </p:ext>
    </p:extLst>
  </p:cmAuthor>
  <p:cmAuthor id="3" name="ENRIC FERNANDEZ MARTINEZ" initials="EFM" lastIdx="17" clrIdx="2">
    <p:extLst>
      <p:ext uri="{19B8F6BF-5375-455C-9EA6-DF929625EA0E}">
        <p15:presenceInfo xmlns:p15="http://schemas.microsoft.com/office/powerpoint/2012/main" userId="S::U0166896@lacaixa.es::dda5e91c-f6d3-4c00-adc7-b17bcf4c3f97" providerId="AD"/>
      </p:ext>
    </p:extLst>
  </p:cmAuthor>
  <p:cmAuthor id="4" name="ENRIC OTERO SERRA" initials="EOS" lastIdx="2" clrIdx="3">
    <p:extLst>
      <p:ext uri="{19B8F6BF-5375-455C-9EA6-DF929625EA0E}">
        <p15:presenceInfo xmlns:p15="http://schemas.microsoft.com/office/powerpoint/2012/main" userId="S::U0166906@lacaixa.es::90f21227-a5da-4d59-9bbf-930194edb61f" providerId="AD"/>
      </p:ext>
    </p:extLst>
  </p:cmAuthor>
  <p:cmAuthor id="5" name="NURIA BUSTAMANTE MARTINEZ" initials="NBM" lastIdx="1" clrIdx="4">
    <p:extLst>
      <p:ext uri="{19B8F6BF-5375-455C-9EA6-DF929625EA0E}">
        <p15:presenceInfo xmlns:p15="http://schemas.microsoft.com/office/powerpoint/2012/main" userId="S-1-5-21-959469044-440081213-4547331-661893" providerId="AD"/>
      </p:ext>
    </p:extLst>
  </p:cmAuthor>
  <p:cmAuthor id="6" name="ENRIC FERNANDEZ MARTINEZ" initials="EFM [2]" lastIdx="21" clrIdx="5">
    <p:extLst>
      <p:ext uri="{19B8F6BF-5375-455C-9EA6-DF929625EA0E}">
        <p15:presenceInfo xmlns:p15="http://schemas.microsoft.com/office/powerpoint/2012/main" userId="S-1-5-21-959469044-440081213-4547331-31516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FD6"/>
    <a:srgbClr val="A6A6A6"/>
    <a:srgbClr val="2EB3EE"/>
    <a:srgbClr val="4ABDF0"/>
    <a:srgbClr val="009AD8"/>
    <a:srgbClr val="D9D9D9"/>
    <a:srgbClr val="3D97D5"/>
    <a:srgbClr val="404040"/>
    <a:srgbClr val="CCECFF"/>
    <a:srgbClr val="FDEA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92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856" y="44"/>
      </p:cViewPr>
      <p:guideLst>
        <p:guide pos="574"/>
        <p:guide orient="horz" pos="667"/>
        <p:guide orient="horz" pos="3997"/>
        <p:guide pos="1164"/>
        <p:guide pos="4089"/>
        <p:guide pos="5927"/>
        <p:guide pos="3784"/>
        <p:guide pos="5613"/>
        <p:guide pos="6916"/>
        <p:guide orient="horz" pos="1601"/>
        <p:guide orient="horz" pos="357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00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8.xml"/><Relationship Id="rId41" Type="http://schemas.openxmlformats.org/officeDocument/2006/relationships/slide" Target="slides/slide20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8" Type="http://schemas.openxmlformats.org/officeDocument/2006/relationships/slideMaster" Target="slideMasters/slideMaster5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2.xml"/><Relationship Id="rId1" Type="http://schemas.microsoft.com/office/2011/relationships/chartStyle" Target="style12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9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S5557D33\DEPA33\9012\ECONOMIA%20EUROPEA\10.%20Analisis\Demografia\2021%20Bloc%20Demografia\Grafics\ARTICULO_3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9AD8"/>
            </a:solidFill>
            <a:ln>
              <a:noFill/>
            </a:ln>
            <a:effectLst/>
          </c:spPr>
          <c:invertIfNegative val="0"/>
          <c:cat>
            <c:strRef>
              <c:f>Hoja1!$G$5:$G$17</c:f>
              <c:strCache>
                <c:ptCount val="13"/>
                <c:pt idx="0">
                  <c:v>Noruega</c:v>
                </c:pt>
                <c:pt idx="1">
                  <c:v>Irlanda</c:v>
                </c:pt>
                <c:pt idx="2">
                  <c:v>Paises Bajos</c:v>
                </c:pt>
                <c:pt idx="3">
                  <c:v>Dinamarca</c:v>
                </c:pt>
                <c:pt idx="4">
                  <c:v>España</c:v>
                </c:pt>
                <c:pt idx="5">
                  <c:v>Italia</c:v>
                </c:pt>
                <c:pt idx="6">
                  <c:v>Reino Unido</c:v>
                </c:pt>
                <c:pt idx="7">
                  <c:v>Portugal</c:v>
                </c:pt>
                <c:pt idx="8">
                  <c:v>Bélgica</c:v>
                </c:pt>
                <c:pt idx="9">
                  <c:v>Alemania</c:v>
                </c:pt>
                <c:pt idx="10">
                  <c:v>Grecia</c:v>
                </c:pt>
                <c:pt idx="11">
                  <c:v>Francia</c:v>
                </c:pt>
                <c:pt idx="12">
                  <c:v>Polonia</c:v>
                </c:pt>
              </c:strCache>
            </c:strRef>
          </c:cat>
          <c:val>
            <c:numRef>
              <c:f>Hoja1!$H$5:$H$17</c:f>
              <c:numCache>
                <c:formatCode>#,#00</c:formatCode>
                <c:ptCount val="13"/>
                <c:pt idx="0">
                  <c:v>3.2</c:v>
                </c:pt>
                <c:pt idx="1">
                  <c:v>3.5200000000000049</c:v>
                </c:pt>
                <c:pt idx="2">
                  <c:v>3.8400000000000096</c:v>
                </c:pt>
                <c:pt idx="3">
                  <c:v>4</c:v>
                </c:pt>
                <c:pt idx="4">
                  <c:v>4.1599999999999913</c:v>
                </c:pt>
                <c:pt idx="5">
                  <c:v>4.1599999999999913</c:v>
                </c:pt>
                <c:pt idx="6">
                  <c:v>4.3199999999999816</c:v>
                </c:pt>
                <c:pt idx="7">
                  <c:v>4.3200000000000047</c:v>
                </c:pt>
                <c:pt idx="8">
                  <c:v>4.4799999999999951</c:v>
                </c:pt>
                <c:pt idx="9">
                  <c:v>4.6400000000000095</c:v>
                </c:pt>
                <c:pt idx="10">
                  <c:v>4.8000000000000007</c:v>
                </c:pt>
                <c:pt idx="11">
                  <c:v>4.8000000000000007</c:v>
                </c:pt>
                <c:pt idx="12">
                  <c:v>6.07999999999999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80-4D92-B562-330FF4A7C3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39234960"/>
        <c:axId val="639230648"/>
      </c:barChart>
      <c:catAx>
        <c:axId val="639234960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s-ES"/>
          </a:p>
        </c:txPr>
        <c:crossAx val="639230648"/>
        <c:crosses val="autoZero"/>
        <c:auto val="1"/>
        <c:lblAlgn val="ctr"/>
        <c:lblOffset val="100"/>
        <c:noMultiLvlLbl val="0"/>
      </c:catAx>
      <c:valAx>
        <c:axId val="639230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s-ES"/>
          </a:p>
        </c:txPr>
        <c:crossAx val="639234960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Calibri" panose="020F0502020204030204" pitchFamily="34" charset="0"/>
        </a:defRPr>
      </a:pPr>
      <a:endParaRPr lang="es-E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IB per cápita (PIB/N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Hoja1!$A$2:$A$4</c:f>
              <c:strCache>
                <c:ptCount val="3"/>
                <c:pt idx="0">
                  <c:v>Agricultura</c:v>
                </c:pt>
                <c:pt idx="1">
                  <c:v>Industria </c:v>
                </c:pt>
                <c:pt idx="2">
                  <c:v>Servicios</c:v>
                </c:pt>
              </c:strCache>
            </c:strRef>
          </c:cat>
          <c:val>
            <c:numRef>
              <c:f>Hoja1!$B$2:$B$4</c:f>
              <c:numCache>
                <c:formatCode>General</c:formatCode>
                <c:ptCount val="3"/>
                <c:pt idx="0">
                  <c:v>-0.15</c:v>
                </c:pt>
                <c:pt idx="1">
                  <c:v>0.42</c:v>
                </c:pt>
                <c:pt idx="2">
                  <c:v>-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FD-4800-B31A-26ADD5FAB141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Fuerza laboral (L/N)</c:v>
                </c:pt>
              </c:strCache>
            </c:strRef>
          </c:tx>
          <c:spPr>
            <a:solidFill>
              <a:srgbClr val="A6A6A6"/>
            </a:solidFill>
            <a:ln>
              <a:noFill/>
            </a:ln>
            <a:effectLst/>
          </c:spPr>
          <c:invertIfNegative val="0"/>
          <c:cat>
            <c:strRef>
              <c:f>Hoja1!$A$2:$A$4</c:f>
              <c:strCache>
                <c:ptCount val="3"/>
                <c:pt idx="0">
                  <c:v>Agricultura</c:v>
                </c:pt>
                <c:pt idx="1">
                  <c:v>Industria </c:v>
                </c:pt>
                <c:pt idx="2">
                  <c:v>Servicios</c:v>
                </c:pt>
              </c:strCache>
            </c:strRef>
          </c:cat>
          <c:val>
            <c:numRef>
              <c:f>Hoja1!$C$2:$C$4</c:f>
              <c:numCache>
                <c:formatCode>General</c:formatCode>
                <c:ptCount val="3"/>
                <c:pt idx="0">
                  <c:v>-0.11</c:v>
                </c:pt>
                <c:pt idx="1">
                  <c:v>-0.05</c:v>
                </c:pt>
                <c:pt idx="2">
                  <c:v>-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FD-4800-B31A-26ADD5FAB141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roductividad Laboral (PIB/L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Hoja1!$A$2:$A$4</c:f>
              <c:strCache>
                <c:ptCount val="3"/>
                <c:pt idx="0">
                  <c:v>Agricultura</c:v>
                </c:pt>
                <c:pt idx="1">
                  <c:v>Industria </c:v>
                </c:pt>
                <c:pt idx="2">
                  <c:v>Servicios</c:v>
                </c:pt>
              </c:strCache>
            </c:strRef>
          </c:cat>
          <c:val>
            <c:numRef>
              <c:f>Hoja1!$D$2:$D$4</c:f>
              <c:numCache>
                <c:formatCode>General</c:formatCode>
                <c:ptCount val="3"/>
                <c:pt idx="0">
                  <c:v>-0.04</c:v>
                </c:pt>
                <c:pt idx="1">
                  <c:v>0.47</c:v>
                </c:pt>
                <c:pt idx="2">
                  <c:v>-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FD-4800-B31A-26ADD5FAB1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81188232"/>
        <c:axId val="1281188560"/>
      </c:barChart>
      <c:catAx>
        <c:axId val="1281188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ES"/>
          </a:p>
        </c:txPr>
        <c:crossAx val="1281188560"/>
        <c:crosses val="autoZero"/>
        <c:auto val="1"/>
        <c:lblAlgn val="ctr"/>
        <c:lblOffset val="100"/>
        <c:noMultiLvlLbl val="0"/>
      </c:catAx>
      <c:valAx>
        <c:axId val="1281188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ES"/>
          </a:p>
        </c:txPr>
        <c:crossAx val="1281188232"/>
        <c:crosses val="autoZero"/>
        <c:crossBetween val="between"/>
        <c:majorUnit val="0.30000000000000004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spaña 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Hoja1!$A$4:$A$24</c:f>
              <c:numCache>
                <c:formatCode>General</c:formatCode>
                <c:ptCount val="2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</c:numCache>
            </c:numRef>
          </c:cat>
          <c:val>
            <c:numRef>
              <c:f>Hoja1!$B$4:$B$24</c:f>
              <c:numCache>
                <c:formatCode>General</c:formatCode>
                <c:ptCount val="21"/>
                <c:pt idx="0">
                  <c:v>30.405295992067842</c:v>
                </c:pt>
                <c:pt idx="1">
                  <c:v>30.842154489527893</c:v>
                </c:pt>
                <c:pt idx="2">
                  <c:v>31.319360370317494</c:v>
                </c:pt>
                <c:pt idx="3">
                  <c:v>31.929215298053595</c:v>
                </c:pt>
                <c:pt idx="4">
                  <c:v>32.578188793178711</c:v>
                </c:pt>
                <c:pt idx="5">
                  <c:v>33.249964869405972</c:v>
                </c:pt>
                <c:pt idx="6">
                  <c:v>34.00735210303452</c:v>
                </c:pt>
                <c:pt idx="7">
                  <c:v>34.751633753029729</c:v>
                </c:pt>
                <c:pt idx="8">
                  <c:v>35.549074733169654</c:v>
                </c:pt>
                <c:pt idx="9">
                  <c:v>36.447400521005591</c:v>
                </c:pt>
                <c:pt idx="10">
                  <c:v>37.507847467154669</c:v>
                </c:pt>
                <c:pt idx="11">
                  <c:v>38.520653692313523</c:v>
                </c:pt>
                <c:pt idx="12">
                  <c:v>39.558960872534293</c:v>
                </c:pt>
                <c:pt idx="13">
                  <c:v>40.678445313879756</c:v>
                </c:pt>
                <c:pt idx="14">
                  <c:v>41.795501738109479</c:v>
                </c:pt>
                <c:pt idx="15">
                  <c:v>42.990007578406775</c:v>
                </c:pt>
                <c:pt idx="16">
                  <c:v>44.214342651439509</c:v>
                </c:pt>
                <c:pt idx="17">
                  <c:v>45.483052308762204</c:v>
                </c:pt>
                <c:pt idx="18">
                  <c:v>46.799280669730287</c:v>
                </c:pt>
                <c:pt idx="19">
                  <c:v>48.128230055316692</c:v>
                </c:pt>
                <c:pt idx="20">
                  <c:v>49.5374450948674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8B-4EF9-8C25-63684C5A1025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spaña (sin inmigración)</c:v>
                </c:pt>
              </c:strCache>
            </c:strRef>
          </c:tx>
          <c:spPr>
            <a:ln w="28575" cap="rnd">
              <a:solidFill>
                <a:schemeClr val="accent6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Hoja1!$A$4:$A$24</c:f>
              <c:numCache>
                <c:formatCode>General</c:formatCode>
                <c:ptCount val="2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</c:numCache>
            </c:numRef>
          </c:cat>
          <c:val>
            <c:numRef>
              <c:f>Hoja1!$C$4:$C$24</c:f>
              <c:numCache>
                <c:formatCode>General</c:formatCode>
                <c:ptCount val="21"/>
                <c:pt idx="0">
                  <c:v>30.713333580082363</c:v>
                </c:pt>
                <c:pt idx="1">
                  <c:v>31.328810668202603</c:v>
                </c:pt>
                <c:pt idx="2">
                  <c:v>31.996594466590082</c:v>
                </c:pt>
                <c:pt idx="3">
                  <c:v>32.812811298659042</c:v>
                </c:pt>
                <c:pt idx="4">
                  <c:v>33.68113540875428</c:v>
                </c:pt>
                <c:pt idx="5">
                  <c:v>34.583793351678793</c:v>
                </c:pt>
                <c:pt idx="6">
                  <c:v>35.591795863572848</c:v>
                </c:pt>
                <c:pt idx="7">
                  <c:v>36.595925227839871</c:v>
                </c:pt>
                <c:pt idx="8">
                  <c:v>37.673685572592312</c:v>
                </c:pt>
                <c:pt idx="9">
                  <c:v>38.880371285287225</c:v>
                </c:pt>
                <c:pt idx="10">
                  <c:v>40.287027021599314</c:v>
                </c:pt>
                <c:pt idx="11">
                  <c:v>41.656631094519703</c:v>
                </c:pt>
                <c:pt idx="12">
                  <c:v>43.072174258018912</c:v>
                </c:pt>
                <c:pt idx="13">
                  <c:v>44.607120945343404</c:v>
                </c:pt>
                <c:pt idx="14">
                  <c:v>46.174021944820694</c:v>
                </c:pt>
                <c:pt idx="15">
                  <c:v>47.80700168332563</c:v>
                </c:pt>
                <c:pt idx="16">
                  <c:v>49.513530460398904</c:v>
                </c:pt>
                <c:pt idx="17">
                  <c:v>51.31627512576965</c:v>
                </c:pt>
                <c:pt idx="18">
                  <c:v>53.230094791061532</c:v>
                </c:pt>
                <c:pt idx="19">
                  <c:v>55.209923501526248</c:v>
                </c:pt>
                <c:pt idx="20">
                  <c:v>57.3566017904661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D7-41A6-BAEC-9053FC710A95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romedio UE 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Hoja1!$A$4:$A$24</c:f>
              <c:numCache>
                <c:formatCode>General</c:formatCode>
                <c:ptCount val="2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</c:numCache>
            </c:numRef>
          </c:cat>
          <c:val>
            <c:numRef>
              <c:f>Hoja1!$D$4:$D$24</c:f>
              <c:numCache>
                <c:formatCode>General</c:formatCode>
                <c:ptCount val="21"/>
                <c:pt idx="0">
                  <c:v>32.254603071053808</c:v>
                </c:pt>
                <c:pt idx="1">
                  <c:v>32.927283002433363</c:v>
                </c:pt>
                <c:pt idx="2">
                  <c:v>33.612920745302993</c:v>
                </c:pt>
                <c:pt idx="3">
                  <c:v>34.311068662809113</c:v>
                </c:pt>
                <c:pt idx="4">
                  <c:v>35.009182035792769</c:v>
                </c:pt>
                <c:pt idx="5">
                  <c:v>35.72932983427021</c:v>
                </c:pt>
                <c:pt idx="6">
                  <c:v>36.471360498007876</c:v>
                </c:pt>
                <c:pt idx="7">
                  <c:v>37.229845898176876</c:v>
                </c:pt>
                <c:pt idx="8">
                  <c:v>38.007651907074006</c:v>
                </c:pt>
                <c:pt idx="9">
                  <c:v>38.849473832986114</c:v>
                </c:pt>
                <c:pt idx="10">
                  <c:v>39.754384759278885</c:v>
                </c:pt>
                <c:pt idx="11">
                  <c:v>40.60985431250333</c:v>
                </c:pt>
                <c:pt idx="12">
                  <c:v>41.444979283757483</c:v>
                </c:pt>
                <c:pt idx="13">
                  <c:v>42.312849484929849</c:v>
                </c:pt>
                <c:pt idx="14">
                  <c:v>43.144219740472735</c:v>
                </c:pt>
                <c:pt idx="15">
                  <c:v>43.931253329305264</c:v>
                </c:pt>
                <c:pt idx="16">
                  <c:v>44.661407135885213</c:v>
                </c:pt>
                <c:pt idx="17">
                  <c:v>45.375134328171427</c:v>
                </c:pt>
                <c:pt idx="18">
                  <c:v>46.025021475505845</c:v>
                </c:pt>
                <c:pt idx="19">
                  <c:v>46.59785203827127</c:v>
                </c:pt>
                <c:pt idx="20">
                  <c:v>47.1803503712715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D7-41A6-BAEC-9053FC710A95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Promedio UE (sin inmigración)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Hoja1!$A$4:$A$24</c:f>
              <c:numCache>
                <c:formatCode>General</c:formatCode>
                <c:ptCount val="2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</c:numCache>
            </c:numRef>
          </c:cat>
          <c:val>
            <c:numRef>
              <c:f>Hoja1!$E$4:$E$24</c:f>
              <c:numCache>
                <c:formatCode>General</c:formatCode>
                <c:ptCount val="21"/>
                <c:pt idx="0">
                  <c:v>32.817858236402905</c:v>
                </c:pt>
                <c:pt idx="1">
                  <c:v>33.596230625809127</c:v>
                </c:pt>
                <c:pt idx="2">
                  <c:v>34.391990885236346</c:v>
                </c:pt>
                <c:pt idx="3">
                  <c:v>35.204257794472547</c:v>
                </c:pt>
                <c:pt idx="4">
                  <c:v>36.019759028312478</c:v>
                </c:pt>
                <c:pt idx="5">
                  <c:v>36.864329304309265</c:v>
                </c:pt>
                <c:pt idx="6">
                  <c:v>37.738988695695852</c:v>
                </c:pt>
                <c:pt idx="7">
                  <c:v>38.638782264082025</c:v>
                </c:pt>
                <c:pt idx="8">
                  <c:v>39.566130062952674</c:v>
                </c:pt>
                <c:pt idx="9">
                  <c:v>40.571250277176887</c:v>
                </c:pt>
                <c:pt idx="10">
                  <c:v>41.654931852585911</c:v>
                </c:pt>
                <c:pt idx="11">
                  <c:v>42.696615885583043</c:v>
                </c:pt>
                <c:pt idx="12">
                  <c:v>43.728825685709545</c:v>
                </c:pt>
                <c:pt idx="13">
                  <c:v>44.809416371882023</c:v>
                </c:pt>
                <c:pt idx="14">
                  <c:v>45.862861357590582</c:v>
                </c:pt>
                <c:pt idx="15">
                  <c:v>46.881049944475471</c:v>
                </c:pt>
                <c:pt idx="16">
                  <c:v>47.848960398235327</c:v>
                </c:pt>
                <c:pt idx="17">
                  <c:v>48.811199860208198</c:v>
                </c:pt>
                <c:pt idx="18">
                  <c:v>49.71484133323505</c:v>
                </c:pt>
                <c:pt idx="19">
                  <c:v>50.544421865146703</c:v>
                </c:pt>
                <c:pt idx="20">
                  <c:v>51.398638994377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8D7-41A6-BAEC-9053FC710A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9165336"/>
        <c:axId val="719167304"/>
      </c:lineChart>
      <c:catAx>
        <c:axId val="719165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719167304"/>
        <c:crosses val="autoZero"/>
        <c:auto val="1"/>
        <c:lblAlgn val="ctr"/>
        <c:lblOffset val="100"/>
        <c:tickLblSkip val="5"/>
        <c:noMultiLvlLbl val="0"/>
      </c:catAx>
      <c:valAx>
        <c:axId val="719167304"/>
        <c:scaling>
          <c:orientation val="minMax"/>
          <c:min val="2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719165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389950623006169E-2"/>
          <c:y val="0.15622606330792282"/>
          <c:w val="0.93595397652880263"/>
          <c:h val="0.504675782225617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Gr3 Gini x colectius'!$D$5:$D$6</c:f>
              <c:strCache>
                <c:ptCount val="2"/>
                <c:pt idx="0">
                  <c:v>Pre</c:v>
                </c:pt>
                <c:pt idx="1">
                  <c:v>Abril</c:v>
                </c:pt>
              </c:strCache>
            </c:strRef>
          </c:tx>
          <c:spPr>
            <a:gradFill>
              <a:gsLst>
                <a:gs pos="52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1270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2E2E2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78-45C2-BC8A-5EA4181D3E16}"/>
              </c:ext>
            </c:extLst>
          </c:dPt>
          <c:dPt>
            <c:idx val="2"/>
            <c:invertIfNegative val="0"/>
            <c:bubble3D val="0"/>
            <c:spPr>
              <a:solidFill>
                <a:srgbClr val="E2E2E2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78-45C2-BC8A-5EA4181D3E16}"/>
              </c:ext>
            </c:extLst>
          </c:dPt>
          <c:dPt>
            <c:idx val="4"/>
            <c:invertIfNegative val="0"/>
            <c:bubble3D val="0"/>
            <c:spPr>
              <a:solidFill>
                <a:srgbClr val="E2E2E2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878-45C2-BC8A-5EA4181D3E16}"/>
              </c:ext>
            </c:extLst>
          </c:dPt>
          <c:dPt>
            <c:idx val="6"/>
            <c:invertIfNegative val="0"/>
            <c:bubble3D val="0"/>
            <c:spPr>
              <a:solidFill>
                <a:srgbClr val="E2E2E2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878-45C2-BC8A-5EA4181D3E16}"/>
              </c:ext>
            </c:extLst>
          </c:dPt>
          <c:dPt>
            <c:idx val="8"/>
            <c:invertIfNegative val="0"/>
            <c:bubble3D val="0"/>
            <c:spPr>
              <a:solidFill>
                <a:srgbClr val="E2E2E2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878-45C2-BC8A-5EA4181D3E16}"/>
              </c:ext>
            </c:extLst>
          </c:dPt>
          <c:cat>
            <c:multiLvlStrRef>
              <c:f>'Gr3 Gini x colectius'!$B$7:$C$16</c:f>
              <c:multiLvlStrCache>
                <c:ptCount val="10"/>
                <c:lvl>
                  <c:pt idx="0">
                    <c:v>abr.-20</c:v>
                  </c:pt>
                  <c:pt idx="1">
                    <c:v>feb.-21</c:v>
                  </c:pt>
                  <c:pt idx="2">
                    <c:v>abr.-20</c:v>
                  </c:pt>
                  <c:pt idx="3">
                    <c:v>feb.-21</c:v>
                  </c:pt>
                  <c:pt idx="4">
                    <c:v>abr.-20</c:v>
                  </c:pt>
                  <c:pt idx="5">
                    <c:v>feb.-21</c:v>
                  </c:pt>
                  <c:pt idx="6">
                    <c:v>abr.-20</c:v>
                  </c:pt>
                  <c:pt idx="7">
                    <c:v>feb.-21</c:v>
                  </c:pt>
                  <c:pt idx="8">
                    <c:v>abr.-20</c:v>
                  </c:pt>
                  <c:pt idx="9">
                    <c:v>feb.-21</c:v>
                  </c:pt>
                </c:lvl>
                <c:lvl>
                  <c:pt idx="0">
                    <c:v>Jóvenes</c:v>
                  </c:pt>
                  <c:pt idx="2">
                    <c:v>Mayores</c:v>
                  </c:pt>
                  <c:pt idx="4">
                    <c:v>Inmigrantes</c:v>
                  </c:pt>
                  <c:pt idx="6">
                    <c:v>Mujeres</c:v>
                  </c:pt>
                  <c:pt idx="8">
                    <c:v>Hombres</c:v>
                  </c:pt>
                </c:lvl>
              </c:multiLvlStrCache>
            </c:multiLvlStrRef>
          </c:cat>
          <c:val>
            <c:numRef>
              <c:f>'Gr3 Gini x colectius'!$D$7:$D$16</c:f>
              <c:numCache>
                <c:formatCode>General</c:formatCode>
                <c:ptCount val="10"/>
                <c:pt idx="0" formatCode="#,#00">
                  <c:v>18.609199999999994</c:v>
                </c:pt>
                <c:pt idx="2" formatCode="#,#00">
                  <c:v>6.3612999999999973</c:v>
                </c:pt>
                <c:pt idx="4" formatCode="#,#00">
                  <c:v>17.421999999999997</c:v>
                </c:pt>
                <c:pt idx="6" formatCode="#,#00">
                  <c:v>11.986099999999993</c:v>
                </c:pt>
                <c:pt idx="8" formatCode="#,#00">
                  <c:v>10.4347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878-45C2-BC8A-5EA4181D3E16}"/>
            </c:ext>
          </c:extLst>
        </c:ser>
        <c:ser>
          <c:idx val="1"/>
          <c:order val="1"/>
          <c:tx>
            <c:strRef>
              <c:f>'Gr3 Gini x colectius'!$E$5:$E$6</c:f>
              <c:strCache>
                <c:ptCount val="2"/>
                <c:pt idx="0">
                  <c:v>Pre</c:v>
                </c:pt>
                <c:pt idx="1">
                  <c:v>abr-21</c:v>
                </c:pt>
              </c:strCache>
            </c:strRef>
          </c:tx>
          <c:spPr>
            <a:gradFill>
              <a:gsLst>
                <a:gs pos="61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45000"/>
                    <a:lumOff val="55000"/>
                  </a:schemeClr>
                </a:gs>
                <a:gs pos="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4BACC6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4878-45C2-BC8A-5EA4181D3E16}"/>
              </c:ext>
            </c:extLst>
          </c:dPt>
          <c:dPt>
            <c:idx val="3"/>
            <c:invertIfNegative val="0"/>
            <c:bubble3D val="0"/>
            <c:spPr>
              <a:solidFill>
                <a:srgbClr val="4BACC6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4878-45C2-BC8A-5EA4181D3E16}"/>
              </c:ext>
            </c:extLst>
          </c:dPt>
          <c:dPt>
            <c:idx val="5"/>
            <c:invertIfNegative val="0"/>
            <c:bubble3D val="0"/>
            <c:spPr>
              <a:solidFill>
                <a:srgbClr val="4BACC6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4878-45C2-BC8A-5EA4181D3E16}"/>
              </c:ext>
            </c:extLst>
          </c:dPt>
          <c:dPt>
            <c:idx val="7"/>
            <c:invertIfNegative val="0"/>
            <c:bubble3D val="0"/>
            <c:spPr>
              <a:solidFill>
                <a:srgbClr val="4BACC6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4878-45C2-BC8A-5EA4181D3E16}"/>
              </c:ext>
            </c:extLst>
          </c:dPt>
          <c:dPt>
            <c:idx val="9"/>
            <c:invertIfNegative val="0"/>
            <c:bubble3D val="0"/>
            <c:spPr>
              <a:solidFill>
                <a:srgbClr val="4BACC6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4878-45C2-BC8A-5EA4181D3E16}"/>
              </c:ext>
            </c:extLst>
          </c:dPt>
          <c:cat>
            <c:multiLvlStrRef>
              <c:f>'Gr3 Gini x colectius'!$B$7:$C$16</c:f>
              <c:multiLvlStrCache>
                <c:ptCount val="10"/>
                <c:lvl>
                  <c:pt idx="0">
                    <c:v>abr.-20</c:v>
                  </c:pt>
                  <c:pt idx="1">
                    <c:v>feb.-21</c:v>
                  </c:pt>
                  <c:pt idx="2">
                    <c:v>abr.-20</c:v>
                  </c:pt>
                  <c:pt idx="3">
                    <c:v>feb.-21</c:v>
                  </c:pt>
                  <c:pt idx="4">
                    <c:v>abr.-20</c:v>
                  </c:pt>
                  <c:pt idx="5">
                    <c:v>feb.-21</c:v>
                  </c:pt>
                  <c:pt idx="6">
                    <c:v>abr.-20</c:v>
                  </c:pt>
                  <c:pt idx="7">
                    <c:v>feb.-21</c:v>
                  </c:pt>
                  <c:pt idx="8">
                    <c:v>abr.-20</c:v>
                  </c:pt>
                  <c:pt idx="9">
                    <c:v>feb.-21</c:v>
                  </c:pt>
                </c:lvl>
                <c:lvl>
                  <c:pt idx="0">
                    <c:v>Jóvenes</c:v>
                  </c:pt>
                  <c:pt idx="2">
                    <c:v>Mayores</c:v>
                  </c:pt>
                  <c:pt idx="4">
                    <c:v>Inmigrantes</c:v>
                  </c:pt>
                  <c:pt idx="6">
                    <c:v>Mujeres</c:v>
                  </c:pt>
                  <c:pt idx="8">
                    <c:v>Hombres</c:v>
                  </c:pt>
                </c:lvl>
              </c:multiLvlStrCache>
            </c:multiLvlStrRef>
          </c:cat>
          <c:val>
            <c:numRef>
              <c:f>'Gr3 Gini x colectius'!$E$7:$E$16</c:f>
              <c:numCache>
                <c:formatCode>#,#00</c:formatCode>
                <c:ptCount val="10"/>
                <c:pt idx="1">
                  <c:v>4.7356000000000069</c:v>
                </c:pt>
                <c:pt idx="3">
                  <c:v>3.2290000000000099</c:v>
                </c:pt>
                <c:pt idx="5">
                  <c:v>7.5739999999999972</c:v>
                </c:pt>
                <c:pt idx="7">
                  <c:v>4.5291000000000023</c:v>
                </c:pt>
                <c:pt idx="9">
                  <c:v>3.6373000000000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4878-45C2-BC8A-5EA4181D3E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100"/>
        <c:axId val="900373344"/>
        <c:axId val="900362760"/>
      </c:barChart>
      <c:lineChart>
        <c:grouping val="standard"/>
        <c:varyColors val="0"/>
        <c:ser>
          <c:idx val="2"/>
          <c:order val="2"/>
          <c:tx>
            <c:strRef>
              <c:f>'Gr3 Gini x colectius'!$F$5:$F$6</c:f>
              <c:strCache>
                <c:ptCount val="2"/>
                <c:pt idx="0">
                  <c:v>Post</c:v>
                </c:pt>
                <c:pt idx="1">
                  <c:v>Abri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bg1">
                  <a:lumMod val="5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</a:ln>
              <a:effectLst/>
            </c:spPr>
          </c:marker>
          <c:cat>
            <c:multiLvlStrRef>
              <c:f>'Gr3 Gini x colectius'!$B$7:$C$16</c:f>
              <c:multiLvlStrCache>
                <c:ptCount val="10"/>
                <c:lvl>
                  <c:pt idx="0">
                    <c:v>abr.-20</c:v>
                  </c:pt>
                  <c:pt idx="1">
                    <c:v>feb.-21</c:v>
                  </c:pt>
                  <c:pt idx="2">
                    <c:v>abr.-20</c:v>
                  </c:pt>
                  <c:pt idx="3">
                    <c:v>feb.-21</c:v>
                  </c:pt>
                  <c:pt idx="4">
                    <c:v>abr.-20</c:v>
                  </c:pt>
                  <c:pt idx="5">
                    <c:v>feb.-21</c:v>
                  </c:pt>
                  <c:pt idx="6">
                    <c:v>abr.-20</c:v>
                  </c:pt>
                  <c:pt idx="7">
                    <c:v>feb.-21</c:v>
                  </c:pt>
                  <c:pt idx="8">
                    <c:v>abr.-20</c:v>
                  </c:pt>
                  <c:pt idx="9">
                    <c:v>feb.-21</c:v>
                  </c:pt>
                </c:lvl>
                <c:lvl>
                  <c:pt idx="0">
                    <c:v>Jóvenes</c:v>
                  </c:pt>
                  <c:pt idx="2">
                    <c:v>Mayores</c:v>
                  </c:pt>
                  <c:pt idx="4">
                    <c:v>Inmigrantes</c:v>
                  </c:pt>
                  <c:pt idx="6">
                    <c:v>Mujeres</c:v>
                  </c:pt>
                  <c:pt idx="8">
                    <c:v>Hombres</c:v>
                  </c:pt>
                </c:lvl>
              </c:multiLvlStrCache>
            </c:multiLvlStrRef>
          </c:cat>
          <c:val>
            <c:numRef>
              <c:f>'Gr3 Gini x colectius'!$F$7:$F$16</c:f>
              <c:numCache>
                <c:formatCode>General</c:formatCode>
                <c:ptCount val="10"/>
                <c:pt idx="0" formatCode="#,#00">
                  <c:v>6.118800000000002</c:v>
                </c:pt>
                <c:pt idx="2" formatCode="#,#00">
                  <c:v>0.94080000000000275</c:v>
                </c:pt>
                <c:pt idx="4" formatCode="#,#00">
                  <c:v>4.6456999999999971</c:v>
                </c:pt>
                <c:pt idx="6" formatCode="#,#00">
                  <c:v>3.3103000000000051</c:v>
                </c:pt>
                <c:pt idx="8" formatCode="#,#00">
                  <c:v>2.00750000000000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4878-45C2-BC8A-5EA4181D3E16}"/>
            </c:ext>
          </c:extLst>
        </c:ser>
        <c:ser>
          <c:idx val="3"/>
          <c:order val="3"/>
          <c:tx>
            <c:strRef>
              <c:f>'Gr3 Gini x colectius'!$G$5:$G$6</c:f>
              <c:strCache>
                <c:ptCount val="2"/>
                <c:pt idx="0">
                  <c:v>Post</c:v>
                </c:pt>
                <c:pt idx="1">
                  <c:v>abr-2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rgbClr val="009AD8"/>
              </a:solidFill>
              <a:ln w="9525">
                <a:noFill/>
              </a:ln>
              <a:effectLst/>
            </c:spPr>
          </c:marker>
          <c:cat>
            <c:multiLvlStrRef>
              <c:f>'Gr3 Gini x colectius'!$B$7:$C$16</c:f>
              <c:multiLvlStrCache>
                <c:ptCount val="10"/>
                <c:lvl>
                  <c:pt idx="0">
                    <c:v>abr.-20</c:v>
                  </c:pt>
                  <c:pt idx="1">
                    <c:v>feb.-21</c:v>
                  </c:pt>
                  <c:pt idx="2">
                    <c:v>abr.-20</c:v>
                  </c:pt>
                  <c:pt idx="3">
                    <c:v>feb.-21</c:v>
                  </c:pt>
                  <c:pt idx="4">
                    <c:v>abr.-20</c:v>
                  </c:pt>
                  <c:pt idx="5">
                    <c:v>feb.-21</c:v>
                  </c:pt>
                  <c:pt idx="6">
                    <c:v>abr.-20</c:v>
                  </c:pt>
                  <c:pt idx="7">
                    <c:v>feb.-21</c:v>
                  </c:pt>
                  <c:pt idx="8">
                    <c:v>abr.-20</c:v>
                  </c:pt>
                  <c:pt idx="9">
                    <c:v>feb.-21</c:v>
                  </c:pt>
                </c:lvl>
                <c:lvl>
                  <c:pt idx="0">
                    <c:v>Jóvenes</c:v>
                  </c:pt>
                  <c:pt idx="2">
                    <c:v>Mayores</c:v>
                  </c:pt>
                  <c:pt idx="4">
                    <c:v>Inmigrantes</c:v>
                  </c:pt>
                  <c:pt idx="6">
                    <c:v>Mujeres</c:v>
                  </c:pt>
                  <c:pt idx="8">
                    <c:v>Hombres</c:v>
                  </c:pt>
                </c:lvl>
              </c:multiLvlStrCache>
            </c:multiLvlStrRef>
          </c:cat>
          <c:val>
            <c:numRef>
              <c:f>'Gr3 Gini x colectius'!$G$7:$G$16</c:f>
              <c:numCache>
                <c:formatCode>#,#00</c:formatCode>
                <c:ptCount val="10"/>
                <c:pt idx="1">
                  <c:v>2.5701000000000027</c:v>
                </c:pt>
                <c:pt idx="3">
                  <c:v>0.74700000000000877</c:v>
                </c:pt>
                <c:pt idx="5">
                  <c:v>2.0606000000000013</c:v>
                </c:pt>
                <c:pt idx="7">
                  <c:v>1.6930000000000001</c:v>
                </c:pt>
                <c:pt idx="9">
                  <c:v>1.3122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4878-45C2-BC8A-5EA4181D3E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0373344"/>
        <c:axId val="900362760"/>
      </c:lineChart>
      <c:catAx>
        <c:axId val="9003733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00362760"/>
        <c:crosses val="autoZero"/>
        <c:auto val="1"/>
        <c:lblAlgn val="ctr"/>
        <c:lblOffset val="100"/>
        <c:noMultiLvlLbl val="0"/>
      </c:catAx>
      <c:valAx>
        <c:axId val="9003627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ysClr val="window" lastClr="FFFFFF">
                  <a:lumMod val="95000"/>
                </a:sys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s-ES"/>
          </a:p>
        </c:txPr>
        <c:crossAx val="900373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umento de la esperanza de vida</c:v>
                </c:pt>
              </c:strCache>
            </c:strRef>
          </c:tx>
          <c:spPr>
            <a:solidFill>
              <a:srgbClr val="009AD8"/>
            </a:solidFill>
            <a:ln>
              <a:noFill/>
            </a:ln>
            <a:effectLst/>
          </c:spPr>
          <c:invertIfNegative val="0"/>
          <c:cat>
            <c:strRef>
              <c:f>Hoja1!$A$2:$A$8</c:f>
              <c:strCache>
                <c:ptCount val="7"/>
                <c:pt idx="0">
                  <c:v>Suecia</c:v>
                </c:pt>
                <c:pt idx="1">
                  <c:v>Italia</c:v>
                </c:pt>
                <c:pt idx="2">
                  <c:v>España</c:v>
                </c:pt>
                <c:pt idx="3">
                  <c:v>Zona Euro</c:v>
                </c:pt>
                <c:pt idx="4">
                  <c:v>Francia</c:v>
                </c:pt>
                <c:pt idx="5">
                  <c:v>Alemania</c:v>
                </c:pt>
                <c:pt idx="6">
                  <c:v>Portugal</c:v>
                </c:pt>
              </c:strCache>
            </c:strRef>
          </c:cat>
          <c:val>
            <c:numRef>
              <c:f>Hoja1!$B$2:$B$8</c:f>
              <c:numCache>
                <c:formatCode>General</c:formatCode>
                <c:ptCount val="7"/>
                <c:pt idx="0">
                  <c:v>2.5492096944151714</c:v>
                </c:pt>
                <c:pt idx="1">
                  <c:v>2.7312961011591148</c:v>
                </c:pt>
                <c:pt idx="2">
                  <c:v>2.8223393045310798</c:v>
                </c:pt>
                <c:pt idx="3">
                  <c:v>3.2108987660419452</c:v>
                </c:pt>
                <c:pt idx="4">
                  <c:v>3.2775553213909454</c:v>
                </c:pt>
                <c:pt idx="5">
                  <c:v>3.3685985247629104</c:v>
                </c:pt>
                <c:pt idx="6">
                  <c:v>3.55068493150685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87-474C-BD51-A575B12B3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19430784"/>
        <c:axId val="719425208"/>
      </c:barChart>
      <c:catAx>
        <c:axId val="719430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ES"/>
          </a:p>
        </c:txPr>
        <c:crossAx val="719425208"/>
        <c:crosses val="autoZero"/>
        <c:auto val="1"/>
        <c:lblAlgn val="ctr"/>
        <c:lblOffset val="100"/>
        <c:noMultiLvlLbl val="0"/>
      </c:catAx>
      <c:valAx>
        <c:axId val="719425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71943078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Fecundida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Hoja1!$A$2:$A$47</c:f>
              <c:numCache>
                <c:formatCode>General</c:formatCode>
                <c:ptCount val="46"/>
                <c:pt idx="0">
                  <c:v>1975</c:v>
                </c:pt>
                <c:pt idx="1">
                  <c:v>1976</c:v>
                </c:pt>
                <c:pt idx="2">
                  <c:v>1977</c:v>
                </c:pt>
                <c:pt idx="3">
                  <c:v>1978</c:v>
                </c:pt>
                <c:pt idx="4">
                  <c:v>1979</c:v>
                </c:pt>
                <c:pt idx="5">
                  <c:v>1980</c:v>
                </c:pt>
                <c:pt idx="6">
                  <c:v>1981</c:v>
                </c:pt>
                <c:pt idx="7">
                  <c:v>1982</c:v>
                </c:pt>
                <c:pt idx="8">
                  <c:v>1983</c:v>
                </c:pt>
                <c:pt idx="9">
                  <c:v>1984</c:v>
                </c:pt>
                <c:pt idx="10">
                  <c:v>1985</c:v>
                </c:pt>
                <c:pt idx="11">
                  <c:v>1986</c:v>
                </c:pt>
                <c:pt idx="12">
                  <c:v>1987</c:v>
                </c:pt>
                <c:pt idx="13">
                  <c:v>1988</c:v>
                </c:pt>
                <c:pt idx="14">
                  <c:v>1989</c:v>
                </c:pt>
                <c:pt idx="15">
                  <c:v>1990</c:v>
                </c:pt>
                <c:pt idx="16">
                  <c:v>1991</c:v>
                </c:pt>
                <c:pt idx="17">
                  <c:v>1992</c:v>
                </c:pt>
                <c:pt idx="18">
                  <c:v>1993</c:v>
                </c:pt>
                <c:pt idx="19">
                  <c:v>1994</c:v>
                </c:pt>
                <c:pt idx="20">
                  <c:v>1995</c:v>
                </c:pt>
                <c:pt idx="21">
                  <c:v>1996</c:v>
                </c:pt>
                <c:pt idx="22">
                  <c:v>1997</c:v>
                </c:pt>
                <c:pt idx="23">
                  <c:v>1998</c:v>
                </c:pt>
                <c:pt idx="24">
                  <c:v>1999</c:v>
                </c:pt>
                <c:pt idx="25">
                  <c:v>2000</c:v>
                </c:pt>
                <c:pt idx="26">
                  <c:v>2001</c:v>
                </c:pt>
                <c:pt idx="27">
                  <c:v>2002</c:v>
                </c:pt>
                <c:pt idx="28">
                  <c:v>2003</c:v>
                </c:pt>
                <c:pt idx="29">
                  <c:v>2004</c:v>
                </c:pt>
                <c:pt idx="30">
                  <c:v>2005</c:v>
                </c:pt>
                <c:pt idx="31">
                  <c:v>2006</c:v>
                </c:pt>
                <c:pt idx="32">
                  <c:v>2007</c:v>
                </c:pt>
                <c:pt idx="33">
                  <c:v>2008</c:v>
                </c:pt>
                <c:pt idx="34">
                  <c:v>2009</c:v>
                </c:pt>
                <c:pt idx="35">
                  <c:v>2010</c:v>
                </c:pt>
                <c:pt idx="36">
                  <c:v>2011</c:v>
                </c:pt>
                <c:pt idx="37">
                  <c:v>2012</c:v>
                </c:pt>
                <c:pt idx="38">
                  <c:v>2013</c:v>
                </c:pt>
                <c:pt idx="39">
                  <c:v>2014</c:v>
                </c:pt>
                <c:pt idx="40">
                  <c:v>2015</c:v>
                </c:pt>
                <c:pt idx="41">
                  <c:v>2016</c:v>
                </c:pt>
                <c:pt idx="42">
                  <c:v>2017</c:v>
                </c:pt>
                <c:pt idx="43">
                  <c:v>2018</c:v>
                </c:pt>
                <c:pt idx="44">
                  <c:v>2019</c:v>
                </c:pt>
                <c:pt idx="45">
                  <c:v>2020</c:v>
                </c:pt>
              </c:numCache>
            </c:numRef>
          </c:cat>
          <c:val>
            <c:numRef>
              <c:f>Hoja1!$B$2:$B$47</c:f>
              <c:numCache>
                <c:formatCode>General</c:formatCode>
                <c:ptCount val="46"/>
                <c:pt idx="0">
                  <c:v>2.8</c:v>
                </c:pt>
                <c:pt idx="1">
                  <c:v>2.8</c:v>
                </c:pt>
                <c:pt idx="2">
                  <c:v>2.7</c:v>
                </c:pt>
                <c:pt idx="3">
                  <c:v>2.5</c:v>
                </c:pt>
                <c:pt idx="4">
                  <c:v>2.4</c:v>
                </c:pt>
                <c:pt idx="5">
                  <c:v>2.2000000000000002</c:v>
                </c:pt>
                <c:pt idx="6">
                  <c:v>2</c:v>
                </c:pt>
                <c:pt idx="7">
                  <c:v>1.9</c:v>
                </c:pt>
                <c:pt idx="8">
                  <c:v>1.8</c:v>
                </c:pt>
                <c:pt idx="9">
                  <c:v>1.7</c:v>
                </c:pt>
                <c:pt idx="10">
                  <c:v>1.6</c:v>
                </c:pt>
                <c:pt idx="11">
                  <c:v>1.6</c:v>
                </c:pt>
                <c:pt idx="12">
                  <c:v>1.5</c:v>
                </c:pt>
                <c:pt idx="13">
                  <c:v>1.4</c:v>
                </c:pt>
                <c:pt idx="14">
                  <c:v>1.4</c:v>
                </c:pt>
                <c:pt idx="15">
                  <c:v>1.4</c:v>
                </c:pt>
                <c:pt idx="16">
                  <c:v>1.3</c:v>
                </c:pt>
                <c:pt idx="17">
                  <c:v>1.3</c:v>
                </c:pt>
                <c:pt idx="18">
                  <c:v>1.3</c:v>
                </c:pt>
                <c:pt idx="19">
                  <c:v>1.2</c:v>
                </c:pt>
                <c:pt idx="20">
                  <c:v>1.2</c:v>
                </c:pt>
                <c:pt idx="21">
                  <c:v>1.1000000000000001</c:v>
                </c:pt>
                <c:pt idx="22">
                  <c:v>1.1000000000000001</c:v>
                </c:pt>
                <c:pt idx="23">
                  <c:v>1.1000000000000001</c:v>
                </c:pt>
                <c:pt idx="24">
                  <c:v>1.2</c:v>
                </c:pt>
                <c:pt idx="25">
                  <c:v>1.2</c:v>
                </c:pt>
                <c:pt idx="26">
                  <c:v>1.2</c:v>
                </c:pt>
                <c:pt idx="27">
                  <c:v>1.3</c:v>
                </c:pt>
                <c:pt idx="28">
                  <c:v>1.3</c:v>
                </c:pt>
                <c:pt idx="29">
                  <c:v>1.3</c:v>
                </c:pt>
                <c:pt idx="30">
                  <c:v>1.3</c:v>
                </c:pt>
                <c:pt idx="31">
                  <c:v>1.4</c:v>
                </c:pt>
                <c:pt idx="32">
                  <c:v>1.4</c:v>
                </c:pt>
                <c:pt idx="33">
                  <c:v>1.4</c:v>
                </c:pt>
                <c:pt idx="34">
                  <c:v>1.4</c:v>
                </c:pt>
                <c:pt idx="35">
                  <c:v>1.4</c:v>
                </c:pt>
                <c:pt idx="36">
                  <c:v>1.3</c:v>
                </c:pt>
                <c:pt idx="37">
                  <c:v>1.3</c:v>
                </c:pt>
                <c:pt idx="38">
                  <c:v>1.3</c:v>
                </c:pt>
                <c:pt idx="39">
                  <c:v>1.3</c:v>
                </c:pt>
                <c:pt idx="40">
                  <c:v>1.3</c:v>
                </c:pt>
                <c:pt idx="41">
                  <c:v>1.3</c:v>
                </c:pt>
                <c:pt idx="42">
                  <c:v>1.3</c:v>
                </c:pt>
                <c:pt idx="43">
                  <c:v>1.26</c:v>
                </c:pt>
                <c:pt idx="44">
                  <c:v>1.24</c:v>
                </c:pt>
                <c:pt idx="45">
                  <c:v>1.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8B-4EF9-8C25-63684C5A10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9165336"/>
        <c:axId val="719167304"/>
      </c:lineChart>
      <c:catAx>
        <c:axId val="719165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719167304"/>
        <c:crosses val="autoZero"/>
        <c:auto val="1"/>
        <c:lblAlgn val="ctr"/>
        <c:lblOffset val="100"/>
        <c:tickLblSkip val="5"/>
        <c:noMultiLvlLbl val="0"/>
      </c:catAx>
      <c:valAx>
        <c:axId val="719167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719165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9 (último dato pre-pandemia)</c:v>
                </c:pt>
              </c:strCache>
            </c:strRef>
          </c:tx>
          <c:spPr>
            <a:solidFill>
              <a:srgbClr val="A6A6A6"/>
            </a:solidFill>
            <a:ln>
              <a:noFill/>
            </a:ln>
            <a:effectLst/>
          </c:spPr>
          <c:invertIfNegative val="0"/>
          <c:cat>
            <c:strRef>
              <c:f>Hoja1!$A$2:$A$9</c:f>
              <c:strCache>
                <c:ptCount val="8"/>
                <c:pt idx="0">
                  <c:v>España</c:v>
                </c:pt>
                <c:pt idx="1">
                  <c:v>Irlanda</c:v>
                </c:pt>
                <c:pt idx="2">
                  <c:v>Suecia</c:v>
                </c:pt>
                <c:pt idx="3">
                  <c:v>Portugal</c:v>
                </c:pt>
                <c:pt idx="4">
                  <c:v>Zona Euro</c:v>
                </c:pt>
                <c:pt idx="5">
                  <c:v>Alemania</c:v>
                </c:pt>
                <c:pt idx="6">
                  <c:v>Italia</c:v>
                </c:pt>
                <c:pt idx="7">
                  <c:v>Francia</c:v>
                </c:pt>
              </c:strCache>
            </c:strRef>
          </c:cat>
          <c:val>
            <c:numRef>
              <c:f>Hoja1!$B$2:$B$9</c:f>
              <c:numCache>
                <c:formatCode>General</c:formatCode>
                <c:ptCount val="8"/>
                <c:pt idx="0">
                  <c:v>0.93048590400775977</c:v>
                </c:pt>
                <c:pt idx="1">
                  <c:v>0.66152581080219985</c:v>
                </c:pt>
                <c:pt idx="2">
                  <c:v>0.64877784523547599</c:v>
                </c:pt>
                <c:pt idx="3">
                  <c:v>0.38982745783586736</c:v>
                </c:pt>
                <c:pt idx="4">
                  <c:v>0.36507455835471753</c:v>
                </c:pt>
                <c:pt idx="5">
                  <c:v>0.33387621395074274</c:v>
                </c:pt>
                <c:pt idx="6">
                  <c:v>0.223355795039333</c:v>
                </c:pt>
                <c:pt idx="7">
                  <c:v>5.673337170596135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6C-4EFB-BC85-F29FB3C154A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30 (previsión)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Hoja1!$A$2:$A$9</c:f>
              <c:strCache>
                <c:ptCount val="8"/>
                <c:pt idx="0">
                  <c:v>España</c:v>
                </c:pt>
                <c:pt idx="1">
                  <c:v>Irlanda</c:v>
                </c:pt>
                <c:pt idx="2">
                  <c:v>Suecia</c:v>
                </c:pt>
                <c:pt idx="3">
                  <c:v>Portugal</c:v>
                </c:pt>
                <c:pt idx="4">
                  <c:v>Zona Euro</c:v>
                </c:pt>
                <c:pt idx="5">
                  <c:v>Alemania</c:v>
                </c:pt>
                <c:pt idx="6">
                  <c:v>Italia</c:v>
                </c:pt>
                <c:pt idx="7">
                  <c:v>Francia</c:v>
                </c:pt>
              </c:strCache>
            </c:strRef>
          </c:cat>
          <c:val>
            <c:numRef>
              <c:f>Hoja1!$C$2:$C$9</c:f>
              <c:numCache>
                <c:formatCode>General</c:formatCode>
                <c:ptCount val="8"/>
                <c:pt idx="0">
                  <c:v>0.37993447701426036</c:v>
                </c:pt>
                <c:pt idx="1">
                  <c:v>0.34951801709733926</c:v>
                </c:pt>
                <c:pt idx="2">
                  <c:v>0.46777698530763961</c:v>
                </c:pt>
                <c:pt idx="3">
                  <c:v>9.826710559505665E-2</c:v>
                </c:pt>
                <c:pt idx="4">
                  <c:v>0.25121310453930068</c:v>
                </c:pt>
                <c:pt idx="5">
                  <c:v>0.29746622383094157</c:v>
                </c:pt>
                <c:pt idx="6">
                  <c:v>0.37378931589098896</c:v>
                </c:pt>
                <c:pt idx="7">
                  <c:v>9.929767937613313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6C-4EFB-BC85-F29FB3C15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19902464"/>
        <c:axId val="1019903120"/>
      </c:barChart>
      <c:catAx>
        <c:axId val="1019902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ES"/>
          </a:p>
        </c:txPr>
        <c:crossAx val="1019903120"/>
        <c:crosses val="autoZero"/>
        <c:auto val="1"/>
        <c:lblAlgn val="ctr"/>
        <c:lblOffset val="100"/>
        <c:noMultiLvlLbl val="0"/>
      </c:catAx>
      <c:valAx>
        <c:axId val="1019903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ES"/>
          </a:p>
        </c:txPr>
        <c:crossAx val="1019902464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BAJ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Hoja1!$A$2:$A$8</c:f>
              <c:strCache>
                <c:ptCount val="7"/>
                <c:pt idx="0">
                  <c:v>30-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5</c:v>
                </c:pt>
              </c:strCache>
            </c:strRef>
          </c:cat>
          <c:val>
            <c:numRef>
              <c:f>Hoja1!$B$2:$B$8</c:f>
              <c:numCache>
                <c:formatCode>#,#00</c:formatCode>
                <c:ptCount val="7"/>
                <c:pt idx="0">
                  <c:v>100</c:v>
                </c:pt>
                <c:pt idx="1">
                  <c:v>100.4</c:v>
                </c:pt>
                <c:pt idx="2">
                  <c:v>98.1</c:v>
                </c:pt>
                <c:pt idx="3">
                  <c:v>95.4</c:v>
                </c:pt>
                <c:pt idx="4">
                  <c:v>89.3</c:v>
                </c:pt>
                <c:pt idx="5">
                  <c:v>78.099999999999994</c:v>
                </c:pt>
                <c:pt idx="6">
                  <c:v>48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61-455F-A45A-477C698580BB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MEDIO 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strRef>
              <c:f>Hoja1!$A$2:$A$8</c:f>
              <c:strCache>
                <c:ptCount val="7"/>
                <c:pt idx="0">
                  <c:v>30-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5</c:v>
                </c:pt>
              </c:strCache>
            </c:strRef>
          </c:cat>
          <c:val>
            <c:numRef>
              <c:f>Hoja1!$C$2:$C$8</c:f>
              <c:numCache>
                <c:formatCode>#,#00</c:formatCode>
                <c:ptCount val="7"/>
                <c:pt idx="0">
                  <c:v>100</c:v>
                </c:pt>
                <c:pt idx="1">
                  <c:v>100.2</c:v>
                </c:pt>
                <c:pt idx="2">
                  <c:v>100.1</c:v>
                </c:pt>
                <c:pt idx="3">
                  <c:v>98.1</c:v>
                </c:pt>
                <c:pt idx="4">
                  <c:v>94.8</c:v>
                </c:pt>
                <c:pt idx="5">
                  <c:v>84</c:v>
                </c:pt>
                <c:pt idx="6">
                  <c:v>55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E61-455F-A45A-477C698580BB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LTO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Hoja1!$A$2:$A$8</c:f>
              <c:strCache>
                <c:ptCount val="7"/>
                <c:pt idx="0">
                  <c:v>30-34</c:v>
                </c:pt>
                <c:pt idx="1">
                  <c:v>35-39</c:v>
                </c:pt>
                <c:pt idx="2">
                  <c:v>40-44</c:v>
                </c:pt>
                <c:pt idx="3">
                  <c:v>45-49</c:v>
                </c:pt>
                <c:pt idx="4">
                  <c:v>50-54</c:v>
                </c:pt>
                <c:pt idx="5">
                  <c:v>55-59</c:v>
                </c:pt>
                <c:pt idx="6">
                  <c:v>60-65</c:v>
                </c:pt>
              </c:strCache>
            </c:strRef>
          </c:cat>
          <c:val>
            <c:numRef>
              <c:f>Hoja1!$D$2:$D$8</c:f>
              <c:numCache>
                <c:formatCode>#,#00</c:formatCode>
                <c:ptCount val="7"/>
                <c:pt idx="0">
                  <c:v>100</c:v>
                </c:pt>
                <c:pt idx="1">
                  <c:v>101.8</c:v>
                </c:pt>
                <c:pt idx="2">
                  <c:v>102.3</c:v>
                </c:pt>
                <c:pt idx="3">
                  <c:v>101.8</c:v>
                </c:pt>
                <c:pt idx="4">
                  <c:v>99.5</c:v>
                </c:pt>
                <c:pt idx="5">
                  <c:v>95.3</c:v>
                </c:pt>
                <c:pt idx="6">
                  <c:v>61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E61-455F-A45A-477C698580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81164288"/>
        <c:axId val="1281169536"/>
      </c:lineChart>
      <c:catAx>
        <c:axId val="1281164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281169536"/>
        <c:crosses val="autoZero"/>
        <c:auto val="1"/>
        <c:lblAlgn val="ctr"/>
        <c:lblOffset val="100"/>
        <c:noMultiLvlLbl val="0"/>
      </c:catAx>
      <c:valAx>
        <c:axId val="1281169536"/>
        <c:scaling>
          <c:orientation val="minMax"/>
          <c:min val="3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281164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s-E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50-54 AÑO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Hoja1!$A$2:$A$7</c:f>
              <c:strCache>
                <c:ptCount val="6"/>
                <c:pt idx="0">
                  <c:v>Planificación</c:v>
                </c:pt>
                <c:pt idx="1">
                  <c:v>Lectura</c:v>
                </c:pt>
                <c:pt idx="2">
                  <c:v>Escritura</c:v>
                </c:pt>
                <c:pt idx="3">
                  <c:v>Habilidades 
TIC</c:v>
                </c:pt>
                <c:pt idx="4">
                  <c:v>Habilidades numéricas</c:v>
                </c:pt>
                <c:pt idx="5">
                  <c:v>Esfuerzo 
físico</c:v>
                </c:pt>
              </c:strCache>
            </c:strRef>
          </c:cat>
          <c:val>
            <c:numRef>
              <c:f>Hoja1!$B$2:$B$7</c:f>
              <c:numCache>
                <c:formatCode>0.00</c:formatCode>
                <c:ptCount val="6"/>
                <c:pt idx="0">
                  <c:v>0.15</c:v>
                </c:pt>
                <c:pt idx="1">
                  <c:v>0.02</c:v>
                </c:pt>
                <c:pt idx="2">
                  <c:v>0.1</c:v>
                </c:pt>
                <c:pt idx="3">
                  <c:v>-0.12</c:v>
                </c:pt>
                <c:pt idx="4">
                  <c:v>-0.24</c:v>
                </c:pt>
                <c:pt idx="5">
                  <c:v>-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61-455F-A45A-477C698580BB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55-59 AÑOS</c:v>
                </c:pt>
              </c:strCache>
            </c:strRef>
          </c:tx>
          <c:spPr>
            <a:solidFill>
              <a:srgbClr val="A6A6A6"/>
            </a:solidFill>
            <a:ln>
              <a:solidFill>
                <a:srgbClr val="A6A6A6"/>
              </a:solidFill>
            </a:ln>
            <a:effectLst/>
          </c:spPr>
          <c:invertIfNegative val="0"/>
          <c:cat>
            <c:strRef>
              <c:f>Hoja1!$A$2:$A$7</c:f>
              <c:strCache>
                <c:ptCount val="6"/>
                <c:pt idx="0">
                  <c:v>Planificación</c:v>
                </c:pt>
                <c:pt idx="1">
                  <c:v>Lectura</c:v>
                </c:pt>
                <c:pt idx="2">
                  <c:v>Escritura</c:v>
                </c:pt>
                <c:pt idx="3">
                  <c:v>Habilidades 
TIC</c:v>
                </c:pt>
                <c:pt idx="4">
                  <c:v>Habilidades numéricas</c:v>
                </c:pt>
                <c:pt idx="5">
                  <c:v>Esfuerzo 
físico</c:v>
                </c:pt>
              </c:strCache>
            </c:strRef>
          </c:cat>
          <c:val>
            <c:numRef>
              <c:f>Hoja1!$C$2:$C$7</c:f>
              <c:numCache>
                <c:formatCode>0.00</c:formatCode>
                <c:ptCount val="6"/>
                <c:pt idx="0">
                  <c:v>0.04</c:v>
                </c:pt>
                <c:pt idx="1">
                  <c:v>0.05</c:v>
                </c:pt>
                <c:pt idx="2">
                  <c:v>0.03</c:v>
                </c:pt>
                <c:pt idx="3">
                  <c:v>-0.17</c:v>
                </c:pt>
                <c:pt idx="4">
                  <c:v>-0.26</c:v>
                </c:pt>
                <c:pt idx="5">
                  <c:v>-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61-455F-A45A-477C698580BB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60-65 AÑOS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accent6"/>
              </a:solidFill>
            </a:ln>
            <a:effectLst/>
          </c:spPr>
          <c:invertIfNegative val="0"/>
          <c:cat>
            <c:strRef>
              <c:f>Hoja1!$A$2:$A$7</c:f>
              <c:strCache>
                <c:ptCount val="6"/>
                <c:pt idx="0">
                  <c:v>Planificación</c:v>
                </c:pt>
                <c:pt idx="1">
                  <c:v>Lectura</c:v>
                </c:pt>
                <c:pt idx="2">
                  <c:v>Escritura</c:v>
                </c:pt>
                <c:pt idx="3">
                  <c:v>Habilidades 
TIC</c:v>
                </c:pt>
                <c:pt idx="4">
                  <c:v>Habilidades numéricas</c:v>
                </c:pt>
                <c:pt idx="5">
                  <c:v>Esfuerzo 
físico</c:v>
                </c:pt>
              </c:strCache>
            </c:strRef>
          </c:cat>
          <c:val>
            <c:numRef>
              <c:f>Hoja1!$D$2:$D$7</c:f>
              <c:numCache>
                <c:formatCode>0.00</c:formatCode>
                <c:ptCount val="6"/>
                <c:pt idx="0">
                  <c:v>0.12</c:v>
                </c:pt>
                <c:pt idx="1">
                  <c:v>-0.15</c:v>
                </c:pt>
                <c:pt idx="2">
                  <c:v>-0.09</c:v>
                </c:pt>
                <c:pt idx="3">
                  <c:v>-0.27</c:v>
                </c:pt>
                <c:pt idx="4">
                  <c:v>-0.4</c:v>
                </c:pt>
                <c:pt idx="5">
                  <c:v>-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E61-455F-A45A-477C698580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1164288"/>
        <c:axId val="1281169536"/>
      </c:barChart>
      <c:catAx>
        <c:axId val="1281164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ES"/>
          </a:p>
        </c:txPr>
        <c:crossAx val="1281169536"/>
        <c:crosses val="autoZero"/>
        <c:auto val="1"/>
        <c:lblAlgn val="ctr"/>
        <c:lblOffset val="100"/>
        <c:noMultiLvlLbl val="0"/>
      </c:catAx>
      <c:valAx>
        <c:axId val="1281169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ES"/>
          </a:p>
        </c:txPr>
        <c:crossAx val="1281164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latin typeface="Calibri" panose="020F0502020204030204" pitchFamily="34" charset="0"/>
          <a:cs typeface="Calibri" panose="020F0502020204030204" pitchFamily="34" charset="0"/>
        </a:defRPr>
      </a:pPr>
      <a:endParaRPr lang="es-E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BIZUM!$C$28</c:f>
              <c:strCache>
                <c:ptCount val="1"/>
                <c:pt idx="0">
                  <c:v>JOVEN</c:v>
                </c:pt>
              </c:strCache>
            </c:strRef>
          </c:tx>
          <c:spPr>
            <a:ln w="28575" cap="rnd">
              <a:solidFill>
                <a:srgbClr val="008FD6"/>
              </a:solidFill>
              <a:round/>
            </a:ln>
            <a:effectLst/>
          </c:spPr>
          <c:marker>
            <c:symbol val="none"/>
          </c:marker>
          <c:val>
            <c:numRef>
              <c:f>BIZUM!$L$28:$L$51</c:f>
              <c:numCache>
                <c:formatCode>#,#00%</c:formatCode>
                <c:ptCount val="24"/>
                <c:pt idx="0">
                  <c:v>1.0589174554543354E-2</c:v>
                </c:pt>
                <c:pt idx="1">
                  <c:v>1.1748474580452696E-2</c:v>
                </c:pt>
                <c:pt idx="2">
                  <c:v>1.3224973797872517E-2</c:v>
                </c:pt>
                <c:pt idx="3">
                  <c:v>1.4640167096896931E-2</c:v>
                </c:pt>
                <c:pt idx="4">
                  <c:v>5.6760222284860948E-3</c:v>
                </c:pt>
                <c:pt idx="5">
                  <c:v>1.8828821584728032E-2</c:v>
                </c:pt>
                <c:pt idx="6">
                  <c:v>2.1588496532988135E-2</c:v>
                </c:pt>
                <c:pt idx="7">
                  <c:v>2.4222909250237009E-2</c:v>
                </c:pt>
                <c:pt idx="8">
                  <c:v>2.6940864005782241E-2</c:v>
                </c:pt>
                <c:pt idx="9">
                  <c:v>3.0277501021808376E-2</c:v>
                </c:pt>
                <c:pt idx="10">
                  <c:v>3.4897617124474901E-2</c:v>
                </c:pt>
                <c:pt idx="11">
                  <c:v>4.1276356609883928E-2</c:v>
                </c:pt>
                <c:pt idx="12">
                  <c:v>4.7358001268019083E-2</c:v>
                </c:pt>
                <c:pt idx="13">
                  <c:v>5.2645346822480676E-2</c:v>
                </c:pt>
                <c:pt idx="14">
                  <c:v>6.3093129795248296E-2</c:v>
                </c:pt>
                <c:pt idx="15">
                  <c:v>7.7105198336757663E-2</c:v>
                </c:pt>
                <c:pt idx="16">
                  <c:v>7.1540873632755936E-2</c:v>
                </c:pt>
                <c:pt idx="17">
                  <c:v>7.4891017262359971E-2</c:v>
                </c:pt>
                <c:pt idx="18">
                  <c:v>8.3865618787253834E-2</c:v>
                </c:pt>
                <c:pt idx="19">
                  <c:v>9.5731540249192434E-2</c:v>
                </c:pt>
                <c:pt idx="20">
                  <c:v>9.8223830266732065E-2</c:v>
                </c:pt>
                <c:pt idx="21">
                  <c:v>0.1024086465908875</c:v>
                </c:pt>
                <c:pt idx="22">
                  <c:v>0.10911291116595893</c:v>
                </c:pt>
                <c:pt idx="23">
                  <c:v>0.115949325064245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7A1-4A66-B077-DFF9103BA52E}"/>
            </c:ext>
          </c:extLst>
        </c:ser>
        <c:ser>
          <c:idx val="0"/>
          <c:order val="1"/>
          <c:tx>
            <c:strRef>
              <c:f>BIZUM!$C$4</c:f>
              <c:strCache>
                <c:ptCount val="1"/>
                <c:pt idx="0">
                  <c:v>ADULTO</c:v>
                </c:pt>
              </c:strCache>
            </c:strRef>
          </c:tx>
          <c:spPr>
            <a:ln w="28575" cap="rnd">
              <a:solidFill>
                <a:srgbClr val="A6A6A6"/>
              </a:solidFill>
              <a:round/>
            </a:ln>
            <a:effectLst/>
          </c:spPr>
          <c:marker>
            <c:symbol val="none"/>
          </c:marker>
          <c:cat>
            <c:numRef>
              <c:f>BIZUM!$D$4:$D$27</c:f>
              <c:numCache>
                <c:formatCode>General</c:formatCode>
                <c:ptCount val="24"/>
                <c:pt idx="0">
                  <c:v>201901</c:v>
                </c:pt>
                <c:pt idx="1">
                  <c:v>201902</c:v>
                </c:pt>
                <c:pt idx="2">
                  <c:v>201903</c:v>
                </c:pt>
                <c:pt idx="3">
                  <c:v>201904</c:v>
                </c:pt>
                <c:pt idx="4">
                  <c:v>201905</c:v>
                </c:pt>
                <c:pt idx="5">
                  <c:v>201906</c:v>
                </c:pt>
                <c:pt idx="6">
                  <c:v>201907</c:v>
                </c:pt>
                <c:pt idx="7">
                  <c:v>201908</c:v>
                </c:pt>
                <c:pt idx="8">
                  <c:v>201909</c:v>
                </c:pt>
                <c:pt idx="9">
                  <c:v>201910</c:v>
                </c:pt>
                <c:pt idx="10">
                  <c:v>201911</c:v>
                </c:pt>
                <c:pt idx="11">
                  <c:v>201912</c:v>
                </c:pt>
                <c:pt idx="12">
                  <c:v>202001</c:v>
                </c:pt>
                <c:pt idx="13">
                  <c:v>202002</c:v>
                </c:pt>
                <c:pt idx="14">
                  <c:v>202003</c:v>
                </c:pt>
                <c:pt idx="15">
                  <c:v>202004</c:v>
                </c:pt>
                <c:pt idx="16">
                  <c:v>202005</c:v>
                </c:pt>
                <c:pt idx="17">
                  <c:v>202006</c:v>
                </c:pt>
                <c:pt idx="18">
                  <c:v>202007</c:v>
                </c:pt>
                <c:pt idx="19">
                  <c:v>202008</c:v>
                </c:pt>
                <c:pt idx="20">
                  <c:v>202009</c:v>
                </c:pt>
                <c:pt idx="21">
                  <c:v>202010</c:v>
                </c:pt>
                <c:pt idx="22">
                  <c:v>202011</c:v>
                </c:pt>
                <c:pt idx="23">
                  <c:v>202012</c:v>
                </c:pt>
              </c:numCache>
            </c:numRef>
          </c:cat>
          <c:val>
            <c:numRef>
              <c:f>BIZUM!$L$4:$L$27</c:f>
              <c:numCache>
                <c:formatCode>#,#00%</c:formatCode>
                <c:ptCount val="24"/>
                <c:pt idx="0">
                  <c:v>2.1627817240837724E-3</c:v>
                </c:pt>
                <c:pt idx="1">
                  <c:v>2.2101388387751534E-3</c:v>
                </c:pt>
                <c:pt idx="2">
                  <c:v>2.483033290865144E-3</c:v>
                </c:pt>
                <c:pt idx="3">
                  <c:v>2.6634723285507982E-3</c:v>
                </c:pt>
                <c:pt idx="4">
                  <c:v>1.1257864222569531E-3</c:v>
                </c:pt>
                <c:pt idx="5">
                  <c:v>3.5858562052881464E-3</c:v>
                </c:pt>
                <c:pt idx="6">
                  <c:v>3.8966827980543282E-3</c:v>
                </c:pt>
                <c:pt idx="7">
                  <c:v>4.2668556559979989E-3</c:v>
                </c:pt>
                <c:pt idx="8">
                  <c:v>5.4619656843420007E-3</c:v>
                </c:pt>
                <c:pt idx="9">
                  <c:v>6.064239616727125E-3</c:v>
                </c:pt>
                <c:pt idx="10">
                  <c:v>7.5551139725005363E-3</c:v>
                </c:pt>
                <c:pt idx="11">
                  <c:v>9.6388014071227684E-3</c:v>
                </c:pt>
                <c:pt idx="12">
                  <c:v>1.1628936252874537E-2</c:v>
                </c:pt>
                <c:pt idx="13">
                  <c:v>1.2398397657224017E-2</c:v>
                </c:pt>
                <c:pt idx="14">
                  <c:v>1.5846512214471822E-2</c:v>
                </c:pt>
                <c:pt idx="15">
                  <c:v>2.3927518474864826E-2</c:v>
                </c:pt>
                <c:pt idx="16">
                  <c:v>2.2927187702709285E-2</c:v>
                </c:pt>
                <c:pt idx="17">
                  <c:v>2.2192316835374076E-2</c:v>
                </c:pt>
                <c:pt idx="18">
                  <c:v>2.363400971671354E-2</c:v>
                </c:pt>
                <c:pt idx="19">
                  <c:v>2.7646014657013478E-2</c:v>
                </c:pt>
                <c:pt idx="20">
                  <c:v>3.1894912459654014E-2</c:v>
                </c:pt>
                <c:pt idx="21">
                  <c:v>3.4858843064874578E-2</c:v>
                </c:pt>
                <c:pt idx="22">
                  <c:v>4.1248887738612419E-2</c:v>
                </c:pt>
                <c:pt idx="23">
                  <c:v>4.522335970817691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7A1-4A66-B077-DFF9103BA52E}"/>
            </c:ext>
          </c:extLst>
        </c:ser>
        <c:ser>
          <c:idx val="2"/>
          <c:order val="2"/>
          <c:tx>
            <c:strRef>
              <c:f>BIZUM!$C$52</c:f>
              <c:strCache>
                <c:ptCount val="1"/>
                <c:pt idx="0">
                  <c:v>SENIOR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val>
            <c:numRef>
              <c:f>BIZUM!$L$52:$L$75</c:f>
              <c:numCache>
                <c:formatCode>#,#00%</c:formatCode>
                <c:ptCount val="24"/>
                <c:pt idx="0">
                  <c:v>2.8427040025471315E-4</c:v>
                </c:pt>
                <c:pt idx="1">
                  <c:v>2.656402841302408E-4</c:v>
                </c:pt>
                <c:pt idx="2">
                  <c:v>2.7652481842598773E-4</c:v>
                </c:pt>
                <c:pt idx="3">
                  <c:v>3.392469086836693E-4</c:v>
                </c:pt>
                <c:pt idx="4">
                  <c:v>1.3538321930559589E-4</c:v>
                </c:pt>
                <c:pt idx="5">
                  <c:v>3.8775278206519488E-4</c:v>
                </c:pt>
                <c:pt idx="6">
                  <c:v>4.5348367802500557E-4</c:v>
                </c:pt>
                <c:pt idx="7">
                  <c:v>5.7152514634175417E-4</c:v>
                </c:pt>
                <c:pt idx="8">
                  <c:v>6.5922245608352533E-4</c:v>
                </c:pt>
                <c:pt idx="9">
                  <c:v>7.0183221634897769E-4</c:v>
                </c:pt>
                <c:pt idx="10">
                  <c:v>1.0288448422106605E-3</c:v>
                </c:pt>
                <c:pt idx="11">
                  <c:v>1.5483168500009068E-3</c:v>
                </c:pt>
                <c:pt idx="12">
                  <c:v>1.8867457269806194E-3</c:v>
                </c:pt>
                <c:pt idx="13">
                  <c:v>1.8108421722066183E-3</c:v>
                </c:pt>
                <c:pt idx="14">
                  <c:v>3.5333678027284266E-3</c:v>
                </c:pt>
                <c:pt idx="15">
                  <c:v>7.9981010397403522E-3</c:v>
                </c:pt>
                <c:pt idx="16">
                  <c:v>5.9838533116729565E-3</c:v>
                </c:pt>
                <c:pt idx="17">
                  <c:v>4.7008199921609057E-3</c:v>
                </c:pt>
                <c:pt idx="18">
                  <c:v>4.9421299223815574E-3</c:v>
                </c:pt>
                <c:pt idx="19">
                  <c:v>6.3797987378323272E-3</c:v>
                </c:pt>
                <c:pt idx="20">
                  <c:v>6.9939821799738389E-3</c:v>
                </c:pt>
                <c:pt idx="21">
                  <c:v>7.5970498962480409E-3</c:v>
                </c:pt>
                <c:pt idx="22">
                  <c:v>1.0661946115151455E-2</c:v>
                </c:pt>
                <c:pt idx="23">
                  <c:v>1.3659546554511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7A1-4A66-B077-DFF9103BA5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29661336"/>
        <c:axId val="629664864"/>
      </c:lineChart>
      <c:catAx>
        <c:axId val="6296613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629664864"/>
        <c:crosses val="autoZero"/>
        <c:auto val="1"/>
        <c:lblAlgn val="ctr"/>
        <c:lblOffset val="100"/>
        <c:noMultiLvlLbl val="0"/>
      </c:catAx>
      <c:valAx>
        <c:axId val="629664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629661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bg1"/>
      </a:solidFill>
      <a:round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9 (último dato pre-pandemia)</c:v>
                </c:pt>
              </c:strCache>
            </c:strRef>
          </c:tx>
          <c:spPr>
            <a:solidFill>
              <a:srgbClr val="A6A6A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FD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5DB4-4317-BE15-D994F197E809}"/>
              </c:ext>
            </c:extLst>
          </c:dPt>
          <c:cat>
            <c:strRef>
              <c:f>Hoja1!$A$2:$A$5</c:f>
              <c:strCache>
                <c:ptCount val="4"/>
                <c:pt idx="0">
                  <c:v>Crecimiento anual promedio PIB per cápita 1990-2019</c:v>
                </c:pt>
                <c:pt idx="1">
                  <c:v>2020-2029</c:v>
                </c:pt>
                <c:pt idx="2">
                  <c:v>2030-2039</c:v>
                </c:pt>
                <c:pt idx="3">
                  <c:v>2040-2049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2.12</c:v>
                </c:pt>
                <c:pt idx="1">
                  <c:v>-0.7</c:v>
                </c:pt>
                <c:pt idx="2">
                  <c:v>-0.6</c:v>
                </c:pt>
                <c:pt idx="3">
                  <c:v>-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6C-4EFB-BC85-F29FB3C15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19902464"/>
        <c:axId val="1019903120"/>
      </c:barChart>
      <c:catAx>
        <c:axId val="1019902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ES"/>
          </a:p>
        </c:txPr>
        <c:crossAx val="1019903120"/>
        <c:crosses val="autoZero"/>
        <c:auto val="1"/>
        <c:lblAlgn val="ctr"/>
        <c:lblOffset val="100"/>
        <c:noMultiLvlLbl val="0"/>
      </c:catAx>
      <c:valAx>
        <c:axId val="1019903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ES"/>
          </a:p>
        </c:txPr>
        <c:crossAx val="1019902464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spañ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050-46AC-B3E9-69138FFA9C1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050-46AC-B3E9-69138FFA9C1D}"/>
              </c:ext>
            </c:extLst>
          </c:dPt>
          <c:cat>
            <c:strRef>
              <c:f>Hoja1!$A$2:$A$4</c:f>
              <c:strCache>
                <c:ptCount val="3"/>
                <c:pt idx="0">
                  <c:v>PIB per cápita (PIB/N) =</c:v>
                </c:pt>
                <c:pt idx="1">
                  <c:v>Fuerza laboral (L/N) +</c:v>
                </c:pt>
                <c:pt idx="2">
                  <c:v>Productividad Laboral (PIB/L)</c:v>
                </c:pt>
              </c:strCache>
            </c:strRef>
          </c:cat>
          <c:val>
            <c:numRef>
              <c:f>Hoja1!$B$2:$B$4</c:f>
              <c:numCache>
                <c:formatCode>General</c:formatCode>
                <c:ptCount val="3"/>
                <c:pt idx="0">
                  <c:v>-0.39</c:v>
                </c:pt>
                <c:pt idx="1">
                  <c:v>-0.18</c:v>
                </c:pt>
                <c:pt idx="2">
                  <c:v>-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50-46AC-B3E9-69138FFA9C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81188232"/>
        <c:axId val="1281188560"/>
      </c:barChart>
      <c:catAx>
        <c:axId val="1281188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ES"/>
          </a:p>
        </c:txPr>
        <c:crossAx val="1281188560"/>
        <c:crosses val="autoZero"/>
        <c:auto val="1"/>
        <c:lblAlgn val="ctr"/>
        <c:lblOffset val="100"/>
        <c:noMultiLvlLbl val="0"/>
      </c:catAx>
      <c:valAx>
        <c:axId val="1281188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ES"/>
          </a:p>
        </c:txPr>
        <c:crossAx val="1281188232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E03FE1-6419-4FA8-9BA7-2FDEE46ECA4C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F7FA20AF-692F-438A-B43B-31E97E2F1D0B}">
      <dgm:prSet phldrT="[Texto]"/>
      <dgm:spPr>
        <a:solidFill>
          <a:srgbClr val="2EB3EE"/>
        </a:solidFill>
      </dgm:spPr>
      <dgm:t>
        <a:bodyPr/>
        <a:lstStyle/>
        <a:p>
          <a:r>
            <a:rPr lang="es-ES" dirty="0"/>
            <a:t>Mercado de trabajo</a:t>
          </a:r>
        </a:p>
      </dgm:t>
    </dgm:pt>
    <dgm:pt modelId="{D4BFE322-2603-45F9-8503-89F83153D754}" type="parTrans" cxnId="{88A8A40C-9EFC-472B-B863-B82B7D6A9B7A}">
      <dgm:prSet/>
      <dgm:spPr/>
      <dgm:t>
        <a:bodyPr/>
        <a:lstStyle/>
        <a:p>
          <a:endParaRPr lang="es-ES"/>
        </a:p>
      </dgm:t>
    </dgm:pt>
    <dgm:pt modelId="{1BB8B3AB-DDD2-4360-BB2A-FE65FDEB6864}" type="sibTrans" cxnId="{88A8A40C-9EFC-472B-B863-B82B7D6A9B7A}">
      <dgm:prSet/>
      <dgm:spPr/>
      <dgm:t>
        <a:bodyPr/>
        <a:lstStyle/>
        <a:p>
          <a:endParaRPr lang="es-ES"/>
        </a:p>
      </dgm:t>
    </dgm:pt>
    <dgm:pt modelId="{DC16F825-E60A-4676-9D9F-8F34F89AE74C}">
      <dgm:prSet phldrT="[Texto]"/>
      <dgm:spPr>
        <a:solidFill>
          <a:srgbClr val="2EB3EE"/>
        </a:solidFill>
      </dgm:spPr>
      <dgm:t>
        <a:bodyPr/>
        <a:lstStyle/>
        <a:p>
          <a:r>
            <a:rPr lang="es-ES" dirty="0"/>
            <a:t>Educación y formación</a:t>
          </a:r>
        </a:p>
      </dgm:t>
    </dgm:pt>
    <dgm:pt modelId="{0A4DD108-256A-4040-90D5-2D110E2EED58}" type="parTrans" cxnId="{85320454-AD7D-44D1-B2C4-06BE4235B091}">
      <dgm:prSet/>
      <dgm:spPr/>
      <dgm:t>
        <a:bodyPr/>
        <a:lstStyle/>
        <a:p>
          <a:endParaRPr lang="es-ES"/>
        </a:p>
      </dgm:t>
    </dgm:pt>
    <dgm:pt modelId="{E2FFF843-24A4-4ECF-A917-5B1133F8E823}" type="sibTrans" cxnId="{85320454-AD7D-44D1-B2C4-06BE4235B091}">
      <dgm:prSet/>
      <dgm:spPr/>
      <dgm:t>
        <a:bodyPr/>
        <a:lstStyle/>
        <a:p>
          <a:endParaRPr lang="es-ES"/>
        </a:p>
      </dgm:t>
    </dgm:pt>
    <dgm:pt modelId="{51C3E895-7BC1-4CAD-A632-AD0BD0E99A43}">
      <dgm:prSet phldrT="[Texto]"/>
      <dgm:spPr>
        <a:solidFill>
          <a:srgbClr val="2EB3EE"/>
        </a:solidFill>
      </dgm:spPr>
      <dgm:t>
        <a:bodyPr/>
        <a:lstStyle/>
        <a:p>
          <a:r>
            <a:rPr lang="es-ES" dirty="0"/>
            <a:t>Demografía e inmigración</a:t>
          </a:r>
        </a:p>
      </dgm:t>
    </dgm:pt>
    <dgm:pt modelId="{41B58D87-962F-490E-BB57-9C32A33EC2DA}" type="parTrans" cxnId="{2366AADC-E71D-427D-AE5F-4BC128637C33}">
      <dgm:prSet/>
      <dgm:spPr/>
      <dgm:t>
        <a:bodyPr/>
        <a:lstStyle/>
        <a:p>
          <a:endParaRPr lang="es-ES"/>
        </a:p>
      </dgm:t>
    </dgm:pt>
    <dgm:pt modelId="{C89CCE31-FC12-4AF2-9948-1FEA28DC84DB}" type="sibTrans" cxnId="{2366AADC-E71D-427D-AE5F-4BC128637C33}">
      <dgm:prSet/>
      <dgm:spPr/>
      <dgm:t>
        <a:bodyPr/>
        <a:lstStyle/>
        <a:p>
          <a:endParaRPr lang="es-ES"/>
        </a:p>
      </dgm:t>
    </dgm:pt>
    <dgm:pt modelId="{A8E0970C-770A-4452-8963-B49CE71D04A9}" type="pres">
      <dgm:prSet presAssocID="{AAE03FE1-6419-4FA8-9BA7-2FDEE46ECA4C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8791C74-F79A-40B4-941B-E7A6A62E996E}" type="pres">
      <dgm:prSet presAssocID="{F7FA20AF-692F-438A-B43B-31E97E2F1D0B}" presName="gear1" presStyleLbl="node1" presStyleIdx="0" presStyleCnt="3" custScaleX="76279" custScaleY="66168">
        <dgm:presLayoutVars>
          <dgm:chMax val="1"/>
          <dgm:bulletEnabled val="1"/>
        </dgm:presLayoutVars>
      </dgm:prSet>
      <dgm:spPr/>
    </dgm:pt>
    <dgm:pt modelId="{DE5F4410-D78A-4B55-B573-C05D88687770}" type="pres">
      <dgm:prSet presAssocID="{F7FA20AF-692F-438A-B43B-31E97E2F1D0B}" presName="gear1srcNode" presStyleLbl="node1" presStyleIdx="0" presStyleCnt="3"/>
      <dgm:spPr/>
    </dgm:pt>
    <dgm:pt modelId="{203471BF-7B6A-46A2-B53D-8DEE2065256B}" type="pres">
      <dgm:prSet presAssocID="{F7FA20AF-692F-438A-B43B-31E97E2F1D0B}" presName="gear1dstNode" presStyleLbl="node1" presStyleIdx="0" presStyleCnt="3"/>
      <dgm:spPr/>
    </dgm:pt>
    <dgm:pt modelId="{2B0B4073-A012-45B9-8255-2D064357BA2A}" type="pres">
      <dgm:prSet presAssocID="{DC16F825-E60A-4676-9D9F-8F34F89AE74C}" presName="gear2" presStyleLbl="node1" presStyleIdx="1" presStyleCnt="3" custScaleX="79290" custScaleY="78560">
        <dgm:presLayoutVars>
          <dgm:chMax val="1"/>
          <dgm:bulletEnabled val="1"/>
        </dgm:presLayoutVars>
      </dgm:prSet>
      <dgm:spPr/>
    </dgm:pt>
    <dgm:pt modelId="{673F45A0-83E7-4B83-88A0-6C6C319336AB}" type="pres">
      <dgm:prSet presAssocID="{DC16F825-E60A-4676-9D9F-8F34F89AE74C}" presName="gear2srcNode" presStyleLbl="node1" presStyleIdx="1" presStyleCnt="3"/>
      <dgm:spPr/>
    </dgm:pt>
    <dgm:pt modelId="{4D213311-CD63-4330-BF5B-9764B4AF333D}" type="pres">
      <dgm:prSet presAssocID="{DC16F825-E60A-4676-9D9F-8F34F89AE74C}" presName="gear2dstNode" presStyleLbl="node1" presStyleIdx="1" presStyleCnt="3"/>
      <dgm:spPr/>
    </dgm:pt>
    <dgm:pt modelId="{788D41A7-F66F-42CE-B237-74CC4AE7B465}" type="pres">
      <dgm:prSet presAssocID="{51C3E895-7BC1-4CAD-A632-AD0BD0E99A43}" presName="gear3" presStyleLbl="node1" presStyleIdx="2" presStyleCnt="3" custLinFactNeighborX="13464" custLinFactNeighborY="7854"/>
      <dgm:spPr/>
    </dgm:pt>
    <dgm:pt modelId="{3FFBB43E-FF8D-4B2B-A3E8-F2AB337EECC5}" type="pres">
      <dgm:prSet presAssocID="{51C3E895-7BC1-4CAD-A632-AD0BD0E99A43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7F93E2F-AAD9-40A9-949F-D68DA82502C9}" type="pres">
      <dgm:prSet presAssocID="{51C3E895-7BC1-4CAD-A632-AD0BD0E99A43}" presName="gear3srcNode" presStyleLbl="node1" presStyleIdx="2" presStyleCnt="3"/>
      <dgm:spPr/>
    </dgm:pt>
    <dgm:pt modelId="{5F9E463E-BAA7-45AF-8A1B-DB017F3643AB}" type="pres">
      <dgm:prSet presAssocID="{51C3E895-7BC1-4CAD-A632-AD0BD0E99A43}" presName="gear3dstNode" presStyleLbl="node1" presStyleIdx="2" presStyleCnt="3"/>
      <dgm:spPr/>
    </dgm:pt>
    <dgm:pt modelId="{DEFF9B24-0E49-4C54-9D49-797309B0DDBB}" type="pres">
      <dgm:prSet presAssocID="{1BB8B3AB-DDD2-4360-BB2A-FE65FDEB6864}" presName="connector1" presStyleLbl="sibTrans2D1" presStyleIdx="0" presStyleCnt="3" custAng="403333" custScaleX="67058" custScaleY="77039" custLinFactNeighborX="839" custLinFactNeighborY="1180"/>
      <dgm:spPr/>
    </dgm:pt>
    <dgm:pt modelId="{9433B5A6-903A-441D-8212-72792FCC9187}" type="pres">
      <dgm:prSet presAssocID="{E2FFF843-24A4-4ECF-A917-5B1133F8E823}" presName="connector2" presStyleLbl="sibTrans2D1" presStyleIdx="1" presStyleCnt="3"/>
      <dgm:spPr/>
    </dgm:pt>
    <dgm:pt modelId="{E31D6542-43F5-4E30-829A-20121F756C3D}" type="pres">
      <dgm:prSet presAssocID="{C89CCE31-FC12-4AF2-9948-1FEA28DC84DB}" presName="connector3" presStyleLbl="sibTrans2D1" presStyleIdx="2" presStyleCnt="3" custAng="0" custLinFactNeighborX="4145" custLinFactNeighborY="8148"/>
      <dgm:spPr/>
    </dgm:pt>
  </dgm:ptLst>
  <dgm:cxnLst>
    <dgm:cxn modelId="{C7C4F704-1C7D-4D05-9E7E-4187A23C755E}" type="presOf" srcId="{F7FA20AF-692F-438A-B43B-31E97E2F1D0B}" destId="{58791C74-F79A-40B4-941B-E7A6A62E996E}" srcOrd="0" destOrd="0" presId="urn:microsoft.com/office/officeart/2005/8/layout/gear1"/>
    <dgm:cxn modelId="{88A8A40C-9EFC-472B-B863-B82B7D6A9B7A}" srcId="{AAE03FE1-6419-4FA8-9BA7-2FDEE46ECA4C}" destId="{F7FA20AF-692F-438A-B43B-31E97E2F1D0B}" srcOrd="0" destOrd="0" parTransId="{D4BFE322-2603-45F9-8503-89F83153D754}" sibTransId="{1BB8B3AB-DDD2-4360-BB2A-FE65FDEB6864}"/>
    <dgm:cxn modelId="{46F1030F-1C0E-4711-B366-36042FE80741}" type="presOf" srcId="{C89CCE31-FC12-4AF2-9948-1FEA28DC84DB}" destId="{E31D6542-43F5-4E30-829A-20121F756C3D}" srcOrd="0" destOrd="0" presId="urn:microsoft.com/office/officeart/2005/8/layout/gear1"/>
    <dgm:cxn modelId="{42F05E24-7378-41AC-901E-D4E9DF54A8CE}" type="presOf" srcId="{F7FA20AF-692F-438A-B43B-31E97E2F1D0B}" destId="{DE5F4410-D78A-4B55-B573-C05D88687770}" srcOrd="1" destOrd="0" presId="urn:microsoft.com/office/officeart/2005/8/layout/gear1"/>
    <dgm:cxn modelId="{DB4DFC34-33B2-4611-B203-143A2A76C91B}" type="presOf" srcId="{F7FA20AF-692F-438A-B43B-31E97E2F1D0B}" destId="{203471BF-7B6A-46A2-B53D-8DEE2065256B}" srcOrd="2" destOrd="0" presId="urn:microsoft.com/office/officeart/2005/8/layout/gear1"/>
    <dgm:cxn modelId="{7FBC7164-5DB6-4750-9B2E-77FA3C0ADB47}" type="presOf" srcId="{51C3E895-7BC1-4CAD-A632-AD0BD0E99A43}" destId="{67F93E2F-AAD9-40A9-949F-D68DA82502C9}" srcOrd="2" destOrd="0" presId="urn:microsoft.com/office/officeart/2005/8/layout/gear1"/>
    <dgm:cxn modelId="{93E8E350-E2A9-4944-9050-EE67333EEEAC}" type="presOf" srcId="{DC16F825-E60A-4676-9D9F-8F34F89AE74C}" destId="{2B0B4073-A012-45B9-8255-2D064357BA2A}" srcOrd="0" destOrd="0" presId="urn:microsoft.com/office/officeart/2005/8/layout/gear1"/>
    <dgm:cxn modelId="{85320454-AD7D-44D1-B2C4-06BE4235B091}" srcId="{AAE03FE1-6419-4FA8-9BA7-2FDEE46ECA4C}" destId="{DC16F825-E60A-4676-9D9F-8F34F89AE74C}" srcOrd="1" destOrd="0" parTransId="{0A4DD108-256A-4040-90D5-2D110E2EED58}" sibTransId="{E2FFF843-24A4-4ECF-A917-5B1133F8E823}"/>
    <dgm:cxn modelId="{F9F7A676-AA84-409B-B53E-244CD6F74B85}" type="presOf" srcId="{E2FFF843-24A4-4ECF-A917-5B1133F8E823}" destId="{9433B5A6-903A-441D-8212-72792FCC9187}" srcOrd="0" destOrd="0" presId="urn:microsoft.com/office/officeart/2005/8/layout/gear1"/>
    <dgm:cxn modelId="{6846E184-CDCE-4AFB-A2ED-CDC6733A24C3}" type="presOf" srcId="{1BB8B3AB-DDD2-4360-BB2A-FE65FDEB6864}" destId="{DEFF9B24-0E49-4C54-9D49-797309B0DDBB}" srcOrd="0" destOrd="0" presId="urn:microsoft.com/office/officeart/2005/8/layout/gear1"/>
    <dgm:cxn modelId="{07FE6290-2372-47BD-91CD-0B06D7FC1EA5}" type="presOf" srcId="{51C3E895-7BC1-4CAD-A632-AD0BD0E99A43}" destId="{3FFBB43E-FF8D-4B2B-A3E8-F2AB337EECC5}" srcOrd="1" destOrd="0" presId="urn:microsoft.com/office/officeart/2005/8/layout/gear1"/>
    <dgm:cxn modelId="{36143F91-61B4-4DE7-82F2-F06E45C333D5}" type="presOf" srcId="{51C3E895-7BC1-4CAD-A632-AD0BD0E99A43}" destId="{5F9E463E-BAA7-45AF-8A1B-DB017F3643AB}" srcOrd="3" destOrd="0" presId="urn:microsoft.com/office/officeart/2005/8/layout/gear1"/>
    <dgm:cxn modelId="{FECE65A2-0E17-48DE-9B35-ECA6173B1373}" type="presOf" srcId="{DC16F825-E60A-4676-9D9F-8F34F89AE74C}" destId="{673F45A0-83E7-4B83-88A0-6C6C319336AB}" srcOrd="1" destOrd="0" presId="urn:microsoft.com/office/officeart/2005/8/layout/gear1"/>
    <dgm:cxn modelId="{8A9717B9-B513-4763-BE86-F8515EEF752B}" type="presOf" srcId="{AAE03FE1-6419-4FA8-9BA7-2FDEE46ECA4C}" destId="{A8E0970C-770A-4452-8963-B49CE71D04A9}" srcOrd="0" destOrd="0" presId="urn:microsoft.com/office/officeart/2005/8/layout/gear1"/>
    <dgm:cxn modelId="{7B47E8BA-A7C6-4BD7-84DA-D42E0C56663C}" type="presOf" srcId="{DC16F825-E60A-4676-9D9F-8F34F89AE74C}" destId="{4D213311-CD63-4330-BF5B-9764B4AF333D}" srcOrd="2" destOrd="0" presId="urn:microsoft.com/office/officeart/2005/8/layout/gear1"/>
    <dgm:cxn modelId="{F12854BF-140A-4E97-93EC-10459F05415B}" type="presOf" srcId="{51C3E895-7BC1-4CAD-A632-AD0BD0E99A43}" destId="{788D41A7-F66F-42CE-B237-74CC4AE7B465}" srcOrd="0" destOrd="0" presId="urn:microsoft.com/office/officeart/2005/8/layout/gear1"/>
    <dgm:cxn modelId="{2366AADC-E71D-427D-AE5F-4BC128637C33}" srcId="{AAE03FE1-6419-4FA8-9BA7-2FDEE46ECA4C}" destId="{51C3E895-7BC1-4CAD-A632-AD0BD0E99A43}" srcOrd="2" destOrd="0" parTransId="{41B58D87-962F-490E-BB57-9C32A33EC2DA}" sibTransId="{C89CCE31-FC12-4AF2-9948-1FEA28DC84DB}"/>
    <dgm:cxn modelId="{C4485A5F-3254-4485-8C2D-206D2C563B81}" type="presParOf" srcId="{A8E0970C-770A-4452-8963-B49CE71D04A9}" destId="{58791C74-F79A-40B4-941B-E7A6A62E996E}" srcOrd="0" destOrd="0" presId="urn:microsoft.com/office/officeart/2005/8/layout/gear1"/>
    <dgm:cxn modelId="{6841267D-C315-4F67-B722-5A162FF4CC20}" type="presParOf" srcId="{A8E0970C-770A-4452-8963-B49CE71D04A9}" destId="{DE5F4410-D78A-4B55-B573-C05D88687770}" srcOrd="1" destOrd="0" presId="urn:microsoft.com/office/officeart/2005/8/layout/gear1"/>
    <dgm:cxn modelId="{48F9B4C3-E8BD-498B-9DEA-B315046645A6}" type="presParOf" srcId="{A8E0970C-770A-4452-8963-B49CE71D04A9}" destId="{203471BF-7B6A-46A2-B53D-8DEE2065256B}" srcOrd="2" destOrd="0" presId="urn:microsoft.com/office/officeart/2005/8/layout/gear1"/>
    <dgm:cxn modelId="{C51C42BE-6C0C-4144-8EC2-6C7E57A3E9F1}" type="presParOf" srcId="{A8E0970C-770A-4452-8963-B49CE71D04A9}" destId="{2B0B4073-A012-45B9-8255-2D064357BA2A}" srcOrd="3" destOrd="0" presId="urn:microsoft.com/office/officeart/2005/8/layout/gear1"/>
    <dgm:cxn modelId="{3949CAE8-7B92-435C-8BE5-53D1B45574C1}" type="presParOf" srcId="{A8E0970C-770A-4452-8963-B49CE71D04A9}" destId="{673F45A0-83E7-4B83-88A0-6C6C319336AB}" srcOrd="4" destOrd="0" presId="urn:microsoft.com/office/officeart/2005/8/layout/gear1"/>
    <dgm:cxn modelId="{4D33B71F-E897-421B-9FED-8C5475B3F77E}" type="presParOf" srcId="{A8E0970C-770A-4452-8963-B49CE71D04A9}" destId="{4D213311-CD63-4330-BF5B-9764B4AF333D}" srcOrd="5" destOrd="0" presId="urn:microsoft.com/office/officeart/2005/8/layout/gear1"/>
    <dgm:cxn modelId="{808A051D-C5AA-48A6-B07E-AF9AEF5CB1BC}" type="presParOf" srcId="{A8E0970C-770A-4452-8963-B49CE71D04A9}" destId="{788D41A7-F66F-42CE-B237-74CC4AE7B465}" srcOrd="6" destOrd="0" presId="urn:microsoft.com/office/officeart/2005/8/layout/gear1"/>
    <dgm:cxn modelId="{0D23AEB9-5D84-462B-A4B9-73404D0E2472}" type="presParOf" srcId="{A8E0970C-770A-4452-8963-B49CE71D04A9}" destId="{3FFBB43E-FF8D-4B2B-A3E8-F2AB337EECC5}" srcOrd="7" destOrd="0" presId="urn:microsoft.com/office/officeart/2005/8/layout/gear1"/>
    <dgm:cxn modelId="{E055CBD0-D730-4AE9-88CE-3452D0780FCC}" type="presParOf" srcId="{A8E0970C-770A-4452-8963-B49CE71D04A9}" destId="{67F93E2F-AAD9-40A9-949F-D68DA82502C9}" srcOrd="8" destOrd="0" presId="urn:microsoft.com/office/officeart/2005/8/layout/gear1"/>
    <dgm:cxn modelId="{B2E3A2D9-3233-4B03-91C6-2C34097E43C8}" type="presParOf" srcId="{A8E0970C-770A-4452-8963-B49CE71D04A9}" destId="{5F9E463E-BAA7-45AF-8A1B-DB017F3643AB}" srcOrd="9" destOrd="0" presId="urn:microsoft.com/office/officeart/2005/8/layout/gear1"/>
    <dgm:cxn modelId="{0DCDBBFE-01AB-46F2-AAFA-DA3F1ED0A53F}" type="presParOf" srcId="{A8E0970C-770A-4452-8963-B49CE71D04A9}" destId="{DEFF9B24-0E49-4C54-9D49-797309B0DDBB}" srcOrd="10" destOrd="0" presId="urn:microsoft.com/office/officeart/2005/8/layout/gear1"/>
    <dgm:cxn modelId="{FC3E52A9-A15B-4C75-B73A-6981B014C4AE}" type="presParOf" srcId="{A8E0970C-770A-4452-8963-B49CE71D04A9}" destId="{9433B5A6-903A-441D-8212-72792FCC9187}" srcOrd="11" destOrd="0" presId="urn:microsoft.com/office/officeart/2005/8/layout/gear1"/>
    <dgm:cxn modelId="{DCC93AFC-5A09-41B8-A03A-F76A2F8C7D6E}" type="presParOf" srcId="{A8E0970C-770A-4452-8963-B49CE71D04A9}" destId="{E31D6542-43F5-4E30-829A-20121F756C3D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AE03FE1-6419-4FA8-9BA7-2FDEE46ECA4C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F7FA20AF-692F-438A-B43B-31E97E2F1D0B}">
      <dgm:prSet phldrT="[Texto]"/>
      <dgm:spPr>
        <a:solidFill>
          <a:srgbClr val="2EB3EE"/>
        </a:solidFill>
      </dgm:spPr>
      <dgm:t>
        <a:bodyPr/>
        <a:lstStyle/>
        <a:p>
          <a:r>
            <a:rPr lang="es-ES" dirty="0"/>
            <a:t>Mercado de trabajo</a:t>
          </a:r>
        </a:p>
      </dgm:t>
    </dgm:pt>
    <dgm:pt modelId="{D4BFE322-2603-45F9-8503-89F83153D754}" type="parTrans" cxnId="{88A8A40C-9EFC-472B-B863-B82B7D6A9B7A}">
      <dgm:prSet/>
      <dgm:spPr/>
      <dgm:t>
        <a:bodyPr/>
        <a:lstStyle/>
        <a:p>
          <a:endParaRPr lang="es-ES"/>
        </a:p>
      </dgm:t>
    </dgm:pt>
    <dgm:pt modelId="{1BB8B3AB-DDD2-4360-BB2A-FE65FDEB6864}" type="sibTrans" cxnId="{88A8A40C-9EFC-472B-B863-B82B7D6A9B7A}">
      <dgm:prSet/>
      <dgm:spPr/>
      <dgm:t>
        <a:bodyPr/>
        <a:lstStyle/>
        <a:p>
          <a:endParaRPr lang="es-ES"/>
        </a:p>
      </dgm:t>
    </dgm:pt>
    <dgm:pt modelId="{DC16F825-E60A-4676-9D9F-8F34F89AE74C}">
      <dgm:prSet phldrT="[Texto]"/>
      <dgm:spPr>
        <a:solidFill>
          <a:srgbClr val="2EB3EE"/>
        </a:solidFill>
      </dgm:spPr>
      <dgm:t>
        <a:bodyPr/>
        <a:lstStyle/>
        <a:p>
          <a:r>
            <a:rPr lang="es-ES" dirty="0"/>
            <a:t>Educación y formación</a:t>
          </a:r>
        </a:p>
      </dgm:t>
    </dgm:pt>
    <dgm:pt modelId="{0A4DD108-256A-4040-90D5-2D110E2EED58}" type="parTrans" cxnId="{85320454-AD7D-44D1-B2C4-06BE4235B091}">
      <dgm:prSet/>
      <dgm:spPr/>
      <dgm:t>
        <a:bodyPr/>
        <a:lstStyle/>
        <a:p>
          <a:endParaRPr lang="es-ES"/>
        </a:p>
      </dgm:t>
    </dgm:pt>
    <dgm:pt modelId="{E2FFF843-24A4-4ECF-A917-5B1133F8E823}" type="sibTrans" cxnId="{85320454-AD7D-44D1-B2C4-06BE4235B091}">
      <dgm:prSet/>
      <dgm:spPr/>
      <dgm:t>
        <a:bodyPr/>
        <a:lstStyle/>
        <a:p>
          <a:endParaRPr lang="es-ES"/>
        </a:p>
      </dgm:t>
    </dgm:pt>
    <dgm:pt modelId="{51C3E895-7BC1-4CAD-A632-AD0BD0E99A43}">
      <dgm:prSet phldrT="[Texto]"/>
      <dgm:spPr>
        <a:solidFill>
          <a:srgbClr val="2EB3EE"/>
        </a:solidFill>
      </dgm:spPr>
      <dgm:t>
        <a:bodyPr/>
        <a:lstStyle/>
        <a:p>
          <a:r>
            <a:rPr lang="es-ES" dirty="0"/>
            <a:t>Demografía e inmigración</a:t>
          </a:r>
        </a:p>
      </dgm:t>
    </dgm:pt>
    <dgm:pt modelId="{41B58D87-962F-490E-BB57-9C32A33EC2DA}" type="parTrans" cxnId="{2366AADC-E71D-427D-AE5F-4BC128637C33}">
      <dgm:prSet/>
      <dgm:spPr/>
      <dgm:t>
        <a:bodyPr/>
        <a:lstStyle/>
        <a:p>
          <a:endParaRPr lang="es-ES"/>
        </a:p>
      </dgm:t>
    </dgm:pt>
    <dgm:pt modelId="{C89CCE31-FC12-4AF2-9948-1FEA28DC84DB}" type="sibTrans" cxnId="{2366AADC-E71D-427D-AE5F-4BC128637C33}">
      <dgm:prSet/>
      <dgm:spPr/>
      <dgm:t>
        <a:bodyPr/>
        <a:lstStyle/>
        <a:p>
          <a:endParaRPr lang="es-ES"/>
        </a:p>
      </dgm:t>
    </dgm:pt>
    <dgm:pt modelId="{A8E0970C-770A-4452-8963-B49CE71D04A9}" type="pres">
      <dgm:prSet presAssocID="{AAE03FE1-6419-4FA8-9BA7-2FDEE46ECA4C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8791C74-F79A-40B4-941B-E7A6A62E996E}" type="pres">
      <dgm:prSet presAssocID="{F7FA20AF-692F-438A-B43B-31E97E2F1D0B}" presName="gear1" presStyleLbl="node1" presStyleIdx="0" presStyleCnt="3" custScaleX="76279" custScaleY="66168">
        <dgm:presLayoutVars>
          <dgm:chMax val="1"/>
          <dgm:bulletEnabled val="1"/>
        </dgm:presLayoutVars>
      </dgm:prSet>
      <dgm:spPr/>
    </dgm:pt>
    <dgm:pt modelId="{DE5F4410-D78A-4B55-B573-C05D88687770}" type="pres">
      <dgm:prSet presAssocID="{F7FA20AF-692F-438A-B43B-31E97E2F1D0B}" presName="gear1srcNode" presStyleLbl="node1" presStyleIdx="0" presStyleCnt="3"/>
      <dgm:spPr/>
    </dgm:pt>
    <dgm:pt modelId="{203471BF-7B6A-46A2-B53D-8DEE2065256B}" type="pres">
      <dgm:prSet presAssocID="{F7FA20AF-692F-438A-B43B-31E97E2F1D0B}" presName="gear1dstNode" presStyleLbl="node1" presStyleIdx="0" presStyleCnt="3"/>
      <dgm:spPr/>
    </dgm:pt>
    <dgm:pt modelId="{2B0B4073-A012-45B9-8255-2D064357BA2A}" type="pres">
      <dgm:prSet presAssocID="{DC16F825-E60A-4676-9D9F-8F34F89AE74C}" presName="gear2" presStyleLbl="node1" presStyleIdx="1" presStyleCnt="3" custScaleX="79290" custScaleY="78560">
        <dgm:presLayoutVars>
          <dgm:chMax val="1"/>
          <dgm:bulletEnabled val="1"/>
        </dgm:presLayoutVars>
      </dgm:prSet>
      <dgm:spPr/>
    </dgm:pt>
    <dgm:pt modelId="{673F45A0-83E7-4B83-88A0-6C6C319336AB}" type="pres">
      <dgm:prSet presAssocID="{DC16F825-E60A-4676-9D9F-8F34F89AE74C}" presName="gear2srcNode" presStyleLbl="node1" presStyleIdx="1" presStyleCnt="3"/>
      <dgm:spPr/>
    </dgm:pt>
    <dgm:pt modelId="{4D213311-CD63-4330-BF5B-9764B4AF333D}" type="pres">
      <dgm:prSet presAssocID="{DC16F825-E60A-4676-9D9F-8F34F89AE74C}" presName="gear2dstNode" presStyleLbl="node1" presStyleIdx="1" presStyleCnt="3"/>
      <dgm:spPr/>
    </dgm:pt>
    <dgm:pt modelId="{788D41A7-F66F-42CE-B237-74CC4AE7B465}" type="pres">
      <dgm:prSet presAssocID="{51C3E895-7BC1-4CAD-A632-AD0BD0E99A43}" presName="gear3" presStyleLbl="node1" presStyleIdx="2" presStyleCnt="3" custLinFactNeighborX="13464" custLinFactNeighborY="7854"/>
      <dgm:spPr/>
    </dgm:pt>
    <dgm:pt modelId="{3FFBB43E-FF8D-4B2B-A3E8-F2AB337EECC5}" type="pres">
      <dgm:prSet presAssocID="{51C3E895-7BC1-4CAD-A632-AD0BD0E99A43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7F93E2F-AAD9-40A9-949F-D68DA82502C9}" type="pres">
      <dgm:prSet presAssocID="{51C3E895-7BC1-4CAD-A632-AD0BD0E99A43}" presName="gear3srcNode" presStyleLbl="node1" presStyleIdx="2" presStyleCnt="3"/>
      <dgm:spPr/>
    </dgm:pt>
    <dgm:pt modelId="{5F9E463E-BAA7-45AF-8A1B-DB017F3643AB}" type="pres">
      <dgm:prSet presAssocID="{51C3E895-7BC1-4CAD-A632-AD0BD0E99A43}" presName="gear3dstNode" presStyleLbl="node1" presStyleIdx="2" presStyleCnt="3"/>
      <dgm:spPr/>
    </dgm:pt>
    <dgm:pt modelId="{DEFF9B24-0E49-4C54-9D49-797309B0DDBB}" type="pres">
      <dgm:prSet presAssocID="{1BB8B3AB-DDD2-4360-BB2A-FE65FDEB6864}" presName="connector1" presStyleLbl="sibTrans2D1" presStyleIdx="0" presStyleCnt="3" custAng="403333" custScaleX="67058" custScaleY="77039" custLinFactNeighborX="839" custLinFactNeighborY="1180"/>
      <dgm:spPr/>
    </dgm:pt>
    <dgm:pt modelId="{9433B5A6-903A-441D-8212-72792FCC9187}" type="pres">
      <dgm:prSet presAssocID="{E2FFF843-24A4-4ECF-A917-5B1133F8E823}" presName="connector2" presStyleLbl="sibTrans2D1" presStyleIdx="1" presStyleCnt="3"/>
      <dgm:spPr/>
    </dgm:pt>
    <dgm:pt modelId="{E31D6542-43F5-4E30-829A-20121F756C3D}" type="pres">
      <dgm:prSet presAssocID="{C89CCE31-FC12-4AF2-9948-1FEA28DC84DB}" presName="connector3" presStyleLbl="sibTrans2D1" presStyleIdx="2" presStyleCnt="3" custAng="0" custLinFactNeighborX="4145" custLinFactNeighborY="8148"/>
      <dgm:spPr/>
    </dgm:pt>
  </dgm:ptLst>
  <dgm:cxnLst>
    <dgm:cxn modelId="{C7C4F704-1C7D-4D05-9E7E-4187A23C755E}" type="presOf" srcId="{F7FA20AF-692F-438A-B43B-31E97E2F1D0B}" destId="{58791C74-F79A-40B4-941B-E7A6A62E996E}" srcOrd="0" destOrd="0" presId="urn:microsoft.com/office/officeart/2005/8/layout/gear1"/>
    <dgm:cxn modelId="{88A8A40C-9EFC-472B-B863-B82B7D6A9B7A}" srcId="{AAE03FE1-6419-4FA8-9BA7-2FDEE46ECA4C}" destId="{F7FA20AF-692F-438A-B43B-31E97E2F1D0B}" srcOrd="0" destOrd="0" parTransId="{D4BFE322-2603-45F9-8503-89F83153D754}" sibTransId="{1BB8B3AB-DDD2-4360-BB2A-FE65FDEB6864}"/>
    <dgm:cxn modelId="{46F1030F-1C0E-4711-B366-36042FE80741}" type="presOf" srcId="{C89CCE31-FC12-4AF2-9948-1FEA28DC84DB}" destId="{E31D6542-43F5-4E30-829A-20121F756C3D}" srcOrd="0" destOrd="0" presId="urn:microsoft.com/office/officeart/2005/8/layout/gear1"/>
    <dgm:cxn modelId="{42F05E24-7378-41AC-901E-D4E9DF54A8CE}" type="presOf" srcId="{F7FA20AF-692F-438A-B43B-31E97E2F1D0B}" destId="{DE5F4410-D78A-4B55-B573-C05D88687770}" srcOrd="1" destOrd="0" presId="urn:microsoft.com/office/officeart/2005/8/layout/gear1"/>
    <dgm:cxn modelId="{DB4DFC34-33B2-4611-B203-143A2A76C91B}" type="presOf" srcId="{F7FA20AF-692F-438A-B43B-31E97E2F1D0B}" destId="{203471BF-7B6A-46A2-B53D-8DEE2065256B}" srcOrd="2" destOrd="0" presId="urn:microsoft.com/office/officeart/2005/8/layout/gear1"/>
    <dgm:cxn modelId="{7FBC7164-5DB6-4750-9B2E-77FA3C0ADB47}" type="presOf" srcId="{51C3E895-7BC1-4CAD-A632-AD0BD0E99A43}" destId="{67F93E2F-AAD9-40A9-949F-D68DA82502C9}" srcOrd="2" destOrd="0" presId="urn:microsoft.com/office/officeart/2005/8/layout/gear1"/>
    <dgm:cxn modelId="{93E8E350-E2A9-4944-9050-EE67333EEEAC}" type="presOf" srcId="{DC16F825-E60A-4676-9D9F-8F34F89AE74C}" destId="{2B0B4073-A012-45B9-8255-2D064357BA2A}" srcOrd="0" destOrd="0" presId="urn:microsoft.com/office/officeart/2005/8/layout/gear1"/>
    <dgm:cxn modelId="{85320454-AD7D-44D1-B2C4-06BE4235B091}" srcId="{AAE03FE1-6419-4FA8-9BA7-2FDEE46ECA4C}" destId="{DC16F825-E60A-4676-9D9F-8F34F89AE74C}" srcOrd="1" destOrd="0" parTransId="{0A4DD108-256A-4040-90D5-2D110E2EED58}" sibTransId="{E2FFF843-24A4-4ECF-A917-5B1133F8E823}"/>
    <dgm:cxn modelId="{F9F7A676-AA84-409B-B53E-244CD6F74B85}" type="presOf" srcId="{E2FFF843-24A4-4ECF-A917-5B1133F8E823}" destId="{9433B5A6-903A-441D-8212-72792FCC9187}" srcOrd="0" destOrd="0" presId="urn:microsoft.com/office/officeart/2005/8/layout/gear1"/>
    <dgm:cxn modelId="{6846E184-CDCE-4AFB-A2ED-CDC6733A24C3}" type="presOf" srcId="{1BB8B3AB-DDD2-4360-BB2A-FE65FDEB6864}" destId="{DEFF9B24-0E49-4C54-9D49-797309B0DDBB}" srcOrd="0" destOrd="0" presId="urn:microsoft.com/office/officeart/2005/8/layout/gear1"/>
    <dgm:cxn modelId="{07FE6290-2372-47BD-91CD-0B06D7FC1EA5}" type="presOf" srcId="{51C3E895-7BC1-4CAD-A632-AD0BD0E99A43}" destId="{3FFBB43E-FF8D-4B2B-A3E8-F2AB337EECC5}" srcOrd="1" destOrd="0" presId="urn:microsoft.com/office/officeart/2005/8/layout/gear1"/>
    <dgm:cxn modelId="{36143F91-61B4-4DE7-82F2-F06E45C333D5}" type="presOf" srcId="{51C3E895-7BC1-4CAD-A632-AD0BD0E99A43}" destId="{5F9E463E-BAA7-45AF-8A1B-DB017F3643AB}" srcOrd="3" destOrd="0" presId="urn:microsoft.com/office/officeart/2005/8/layout/gear1"/>
    <dgm:cxn modelId="{FECE65A2-0E17-48DE-9B35-ECA6173B1373}" type="presOf" srcId="{DC16F825-E60A-4676-9D9F-8F34F89AE74C}" destId="{673F45A0-83E7-4B83-88A0-6C6C319336AB}" srcOrd="1" destOrd="0" presId="urn:microsoft.com/office/officeart/2005/8/layout/gear1"/>
    <dgm:cxn modelId="{8A9717B9-B513-4763-BE86-F8515EEF752B}" type="presOf" srcId="{AAE03FE1-6419-4FA8-9BA7-2FDEE46ECA4C}" destId="{A8E0970C-770A-4452-8963-B49CE71D04A9}" srcOrd="0" destOrd="0" presId="urn:microsoft.com/office/officeart/2005/8/layout/gear1"/>
    <dgm:cxn modelId="{7B47E8BA-A7C6-4BD7-84DA-D42E0C56663C}" type="presOf" srcId="{DC16F825-E60A-4676-9D9F-8F34F89AE74C}" destId="{4D213311-CD63-4330-BF5B-9764B4AF333D}" srcOrd="2" destOrd="0" presId="urn:microsoft.com/office/officeart/2005/8/layout/gear1"/>
    <dgm:cxn modelId="{F12854BF-140A-4E97-93EC-10459F05415B}" type="presOf" srcId="{51C3E895-7BC1-4CAD-A632-AD0BD0E99A43}" destId="{788D41A7-F66F-42CE-B237-74CC4AE7B465}" srcOrd="0" destOrd="0" presId="urn:microsoft.com/office/officeart/2005/8/layout/gear1"/>
    <dgm:cxn modelId="{2366AADC-E71D-427D-AE5F-4BC128637C33}" srcId="{AAE03FE1-6419-4FA8-9BA7-2FDEE46ECA4C}" destId="{51C3E895-7BC1-4CAD-A632-AD0BD0E99A43}" srcOrd="2" destOrd="0" parTransId="{41B58D87-962F-490E-BB57-9C32A33EC2DA}" sibTransId="{C89CCE31-FC12-4AF2-9948-1FEA28DC84DB}"/>
    <dgm:cxn modelId="{C4485A5F-3254-4485-8C2D-206D2C563B81}" type="presParOf" srcId="{A8E0970C-770A-4452-8963-B49CE71D04A9}" destId="{58791C74-F79A-40B4-941B-E7A6A62E996E}" srcOrd="0" destOrd="0" presId="urn:microsoft.com/office/officeart/2005/8/layout/gear1"/>
    <dgm:cxn modelId="{6841267D-C315-4F67-B722-5A162FF4CC20}" type="presParOf" srcId="{A8E0970C-770A-4452-8963-B49CE71D04A9}" destId="{DE5F4410-D78A-4B55-B573-C05D88687770}" srcOrd="1" destOrd="0" presId="urn:microsoft.com/office/officeart/2005/8/layout/gear1"/>
    <dgm:cxn modelId="{48F9B4C3-E8BD-498B-9DEA-B315046645A6}" type="presParOf" srcId="{A8E0970C-770A-4452-8963-B49CE71D04A9}" destId="{203471BF-7B6A-46A2-B53D-8DEE2065256B}" srcOrd="2" destOrd="0" presId="urn:microsoft.com/office/officeart/2005/8/layout/gear1"/>
    <dgm:cxn modelId="{C51C42BE-6C0C-4144-8EC2-6C7E57A3E9F1}" type="presParOf" srcId="{A8E0970C-770A-4452-8963-B49CE71D04A9}" destId="{2B0B4073-A012-45B9-8255-2D064357BA2A}" srcOrd="3" destOrd="0" presId="urn:microsoft.com/office/officeart/2005/8/layout/gear1"/>
    <dgm:cxn modelId="{3949CAE8-7B92-435C-8BE5-53D1B45574C1}" type="presParOf" srcId="{A8E0970C-770A-4452-8963-B49CE71D04A9}" destId="{673F45A0-83E7-4B83-88A0-6C6C319336AB}" srcOrd="4" destOrd="0" presId="urn:microsoft.com/office/officeart/2005/8/layout/gear1"/>
    <dgm:cxn modelId="{4D33B71F-E897-421B-9FED-8C5475B3F77E}" type="presParOf" srcId="{A8E0970C-770A-4452-8963-B49CE71D04A9}" destId="{4D213311-CD63-4330-BF5B-9764B4AF333D}" srcOrd="5" destOrd="0" presId="urn:microsoft.com/office/officeart/2005/8/layout/gear1"/>
    <dgm:cxn modelId="{808A051D-C5AA-48A6-B07E-AF9AEF5CB1BC}" type="presParOf" srcId="{A8E0970C-770A-4452-8963-B49CE71D04A9}" destId="{788D41A7-F66F-42CE-B237-74CC4AE7B465}" srcOrd="6" destOrd="0" presId="urn:microsoft.com/office/officeart/2005/8/layout/gear1"/>
    <dgm:cxn modelId="{0D23AEB9-5D84-462B-A4B9-73404D0E2472}" type="presParOf" srcId="{A8E0970C-770A-4452-8963-B49CE71D04A9}" destId="{3FFBB43E-FF8D-4B2B-A3E8-F2AB337EECC5}" srcOrd="7" destOrd="0" presId="urn:microsoft.com/office/officeart/2005/8/layout/gear1"/>
    <dgm:cxn modelId="{E055CBD0-D730-4AE9-88CE-3452D0780FCC}" type="presParOf" srcId="{A8E0970C-770A-4452-8963-B49CE71D04A9}" destId="{67F93E2F-AAD9-40A9-949F-D68DA82502C9}" srcOrd="8" destOrd="0" presId="urn:microsoft.com/office/officeart/2005/8/layout/gear1"/>
    <dgm:cxn modelId="{B2E3A2D9-3233-4B03-91C6-2C34097E43C8}" type="presParOf" srcId="{A8E0970C-770A-4452-8963-B49CE71D04A9}" destId="{5F9E463E-BAA7-45AF-8A1B-DB017F3643AB}" srcOrd="9" destOrd="0" presId="urn:microsoft.com/office/officeart/2005/8/layout/gear1"/>
    <dgm:cxn modelId="{0DCDBBFE-01AB-46F2-AAFA-DA3F1ED0A53F}" type="presParOf" srcId="{A8E0970C-770A-4452-8963-B49CE71D04A9}" destId="{DEFF9B24-0E49-4C54-9D49-797309B0DDBB}" srcOrd="10" destOrd="0" presId="urn:microsoft.com/office/officeart/2005/8/layout/gear1"/>
    <dgm:cxn modelId="{FC3E52A9-A15B-4C75-B73A-6981B014C4AE}" type="presParOf" srcId="{A8E0970C-770A-4452-8963-B49CE71D04A9}" destId="{9433B5A6-903A-441D-8212-72792FCC9187}" srcOrd="11" destOrd="0" presId="urn:microsoft.com/office/officeart/2005/8/layout/gear1"/>
    <dgm:cxn modelId="{DCC93AFC-5A09-41B8-A03A-F76A2F8C7D6E}" type="presParOf" srcId="{A8E0970C-770A-4452-8963-B49CE71D04A9}" destId="{E31D6542-43F5-4E30-829A-20121F756C3D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AE03FE1-6419-4FA8-9BA7-2FDEE46ECA4C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F7FA20AF-692F-438A-B43B-31E97E2F1D0B}">
      <dgm:prSet phldrT="[Texto]"/>
      <dgm:spPr>
        <a:solidFill>
          <a:srgbClr val="2EB3EE"/>
        </a:solidFill>
      </dgm:spPr>
      <dgm:t>
        <a:bodyPr/>
        <a:lstStyle/>
        <a:p>
          <a:r>
            <a:rPr lang="es-ES" dirty="0"/>
            <a:t>Mercado de trabajo</a:t>
          </a:r>
        </a:p>
      </dgm:t>
    </dgm:pt>
    <dgm:pt modelId="{D4BFE322-2603-45F9-8503-89F83153D754}" type="parTrans" cxnId="{88A8A40C-9EFC-472B-B863-B82B7D6A9B7A}">
      <dgm:prSet/>
      <dgm:spPr/>
      <dgm:t>
        <a:bodyPr/>
        <a:lstStyle/>
        <a:p>
          <a:endParaRPr lang="es-ES"/>
        </a:p>
      </dgm:t>
    </dgm:pt>
    <dgm:pt modelId="{1BB8B3AB-DDD2-4360-BB2A-FE65FDEB6864}" type="sibTrans" cxnId="{88A8A40C-9EFC-472B-B863-B82B7D6A9B7A}">
      <dgm:prSet/>
      <dgm:spPr/>
      <dgm:t>
        <a:bodyPr/>
        <a:lstStyle/>
        <a:p>
          <a:endParaRPr lang="es-ES"/>
        </a:p>
      </dgm:t>
    </dgm:pt>
    <dgm:pt modelId="{DC16F825-E60A-4676-9D9F-8F34F89AE74C}">
      <dgm:prSet phldrT="[Texto]"/>
      <dgm:spPr>
        <a:solidFill>
          <a:srgbClr val="2EB3EE"/>
        </a:solidFill>
      </dgm:spPr>
      <dgm:t>
        <a:bodyPr/>
        <a:lstStyle/>
        <a:p>
          <a:r>
            <a:rPr lang="es-ES" dirty="0"/>
            <a:t>Educación y formación</a:t>
          </a:r>
        </a:p>
      </dgm:t>
    </dgm:pt>
    <dgm:pt modelId="{0A4DD108-256A-4040-90D5-2D110E2EED58}" type="parTrans" cxnId="{85320454-AD7D-44D1-B2C4-06BE4235B091}">
      <dgm:prSet/>
      <dgm:spPr/>
      <dgm:t>
        <a:bodyPr/>
        <a:lstStyle/>
        <a:p>
          <a:endParaRPr lang="es-ES"/>
        </a:p>
      </dgm:t>
    </dgm:pt>
    <dgm:pt modelId="{E2FFF843-24A4-4ECF-A917-5B1133F8E823}" type="sibTrans" cxnId="{85320454-AD7D-44D1-B2C4-06BE4235B091}">
      <dgm:prSet/>
      <dgm:spPr/>
      <dgm:t>
        <a:bodyPr/>
        <a:lstStyle/>
        <a:p>
          <a:endParaRPr lang="es-ES"/>
        </a:p>
      </dgm:t>
    </dgm:pt>
    <dgm:pt modelId="{51C3E895-7BC1-4CAD-A632-AD0BD0E99A43}">
      <dgm:prSet phldrT="[Texto]"/>
      <dgm:spPr>
        <a:solidFill>
          <a:srgbClr val="2EB3EE"/>
        </a:solidFill>
      </dgm:spPr>
      <dgm:t>
        <a:bodyPr/>
        <a:lstStyle/>
        <a:p>
          <a:r>
            <a:rPr lang="es-ES" dirty="0"/>
            <a:t>Demografía e inmigración</a:t>
          </a:r>
        </a:p>
      </dgm:t>
    </dgm:pt>
    <dgm:pt modelId="{41B58D87-962F-490E-BB57-9C32A33EC2DA}" type="parTrans" cxnId="{2366AADC-E71D-427D-AE5F-4BC128637C33}">
      <dgm:prSet/>
      <dgm:spPr/>
      <dgm:t>
        <a:bodyPr/>
        <a:lstStyle/>
        <a:p>
          <a:endParaRPr lang="es-ES"/>
        </a:p>
      </dgm:t>
    </dgm:pt>
    <dgm:pt modelId="{C89CCE31-FC12-4AF2-9948-1FEA28DC84DB}" type="sibTrans" cxnId="{2366AADC-E71D-427D-AE5F-4BC128637C33}">
      <dgm:prSet/>
      <dgm:spPr/>
      <dgm:t>
        <a:bodyPr/>
        <a:lstStyle/>
        <a:p>
          <a:endParaRPr lang="es-ES"/>
        </a:p>
      </dgm:t>
    </dgm:pt>
    <dgm:pt modelId="{A8E0970C-770A-4452-8963-B49CE71D04A9}" type="pres">
      <dgm:prSet presAssocID="{AAE03FE1-6419-4FA8-9BA7-2FDEE46ECA4C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58791C74-F79A-40B4-941B-E7A6A62E996E}" type="pres">
      <dgm:prSet presAssocID="{F7FA20AF-692F-438A-B43B-31E97E2F1D0B}" presName="gear1" presStyleLbl="node1" presStyleIdx="0" presStyleCnt="3" custScaleX="76279" custScaleY="66168">
        <dgm:presLayoutVars>
          <dgm:chMax val="1"/>
          <dgm:bulletEnabled val="1"/>
        </dgm:presLayoutVars>
      </dgm:prSet>
      <dgm:spPr/>
    </dgm:pt>
    <dgm:pt modelId="{DE5F4410-D78A-4B55-B573-C05D88687770}" type="pres">
      <dgm:prSet presAssocID="{F7FA20AF-692F-438A-B43B-31E97E2F1D0B}" presName="gear1srcNode" presStyleLbl="node1" presStyleIdx="0" presStyleCnt="3"/>
      <dgm:spPr/>
    </dgm:pt>
    <dgm:pt modelId="{203471BF-7B6A-46A2-B53D-8DEE2065256B}" type="pres">
      <dgm:prSet presAssocID="{F7FA20AF-692F-438A-B43B-31E97E2F1D0B}" presName="gear1dstNode" presStyleLbl="node1" presStyleIdx="0" presStyleCnt="3"/>
      <dgm:spPr/>
    </dgm:pt>
    <dgm:pt modelId="{2B0B4073-A012-45B9-8255-2D064357BA2A}" type="pres">
      <dgm:prSet presAssocID="{DC16F825-E60A-4676-9D9F-8F34F89AE74C}" presName="gear2" presStyleLbl="node1" presStyleIdx="1" presStyleCnt="3" custScaleX="79290" custScaleY="78560">
        <dgm:presLayoutVars>
          <dgm:chMax val="1"/>
          <dgm:bulletEnabled val="1"/>
        </dgm:presLayoutVars>
      </dgm:prSet>
      <dgm:spPr/>
    </dgm:pt>
    <dgm:pt modelId="{673F45A0-83E7-4B83-88A0-6C6C319336AB}" type="pres">
      <dgm:prSet presAssocID="{DC16F825-E60A-4676-9D9F-8F34F89AE74C}" presName="gear2srcNode" presStyleLbl="node1" presStyleIdx="1" presStyleCnt="3"/>
      <dgm:spPr/>
    </dgm:pt>
    <dgm:pt modelId="{4D213311-CD63-4330-BF5B-9764B4AF333D}" type="pres">
      <dgm:prSet presAssocID="{DC16F825-E60A-4676-9D9F-8F34F89AE74C}" presName="gear2dstNode" presStyleLbl="node1" presStyleIdx="1" presStyleCnt="3"/>
      <dgm:spPr/>
    </dgm:pt>
    <dgm:pt modelId="{788D41A7-F66F-42CE-B237-74CC4AE7B465}" type="pres">
      <dgm:prSet presAssocID="{51C3E895-7BC1-4CAD-A632-AD0BD0E99A43}" presName="gear3" presStyleLbl="node1" presStyleIdx="2" presStyleCnt="3" custLinFactNeighborX="13464" custLinFactNeighborY="7854"/>
      <dgm:spPr/>
    </dgm:pt>
    <dgm:pt modelId="{3FFBB43E-FF8D-4B2B-A3E8-F2AB337EECC5}" type="pres">
      <dgm:prSet presAssocID="{51C3E895-7BC1-4CAD-A632-AD0BD0E99A43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67F93E2F-AAD9-40A9-949F-D68DA82502C9}" type="pres">
      <dgm:prSet presAssocID="{51C3E895-7BC1-4CAD-A632-AD0BD0E99A43}" presName="gear3srcNode" presStyleLbl="node1" presStyleIdx="2" presStyleCnt="3"/>
      <dgm:spPr/>
    </dgm:pt>
    <dgm:pt modelId="{5F9E463E-BAA7-45AF-8A1B-DB017F3643AB}" type="pres">
      <dgm:prSet presAssocID="{51C3E895-7BC1-4CAD-A632-AD0BD0E99A43}" presName="gear3dstNode" presStyleLbl="node1" presStyleIdx="2" presStyleCnt="3"/>
      <dgm:spPr/>
    </dgm:pt>
    <dgm:pt modelId="{DEFF9B24-0E49-4C54-9D49-797309B0DDBB}" type="pres">
      <dgm:prSet presAssocID="{1BB8B3AB-DDD2-4360-BB2A-FE65FDEB6864}" presName="connector1" presStyleLbl="sibTrans2D1" presStyleIdx="0" presStyleCnt="3" custAng="403333" custScaleX="67058" custScaleY="77039" custLinFactNeighborX="839" custLinFactNeighborY="1180"/>
      <dgm:spPr/>
    </dgm:pt>
    <dgm:pt modelId="{9433B5A6-903A-441D-8212-72792FCC9187}" type="pres">
      <dgm:prSet presAssocID="{E2FFF843-24A4-4ECF-A917-5B1133F8E823}" presName="connector2" presStyleLbl="sibTrans2D1" presStyleIdx="1" presStyleCnt="3"/>
      <dgm:spPr/>
    </dgm:pt>
    <dgm:pt modelId="{E31D6542-43F5-4E30-829A-20121F756C3D}" type="pres">
      <dgm:prSet presAssocID="{C89CCE31-FC12-4AF2-9948-1FEA28DC84DB}" presName="connector3" presStyleLbl="sibTrans2D1" presStyleIdx="2" presStyleCnt="3" custAng="0" custLinFactNeighborX="4145" custLinFactNeighborY="8148"/>
      <dgm:spPr/>
    </dgm:pt>
  </dgm:ptLst>
  <dgm:cxnLst>
    <dgm:cxn modelId="{C7C4F704-1C7D-4D05-9E7E-4187A23C755E}" type="presOf" srcId="{F7FA20AF-692F-438A-B43B-31E97E2F1D0B}" destId="{58791C74-F79A-40B4-941B-E7A6A62E996E}" srcOrd="0" destOrd="0" presId="urn:microsoft.com/office/officeart/2005/8/layout/gear1"/>
    <dgm:cxn modelId="{88A8A40C-9EFC-472B-B863-B82B7D6A9B7A}" srcId="{AAE03FE1-6419-4FA8-9BA7-2FDEE46ECA4C}" destId="{F7FA20AF-692F-438A-B43B-31E97E2F1D0B}" srcOrd="0" destOrd="0" parTransId="{D4BFE322-2603-45F9-8503-89F83153D754}" sibTransId="{1BB8B3AB-DDD2-4360-BB2A-FE65FDEB6864}"/>
    <dgm:cxn modelId="{46F1030F-1C0E-4711-B366-36042FE80741}" type="presOf" srcId="{C89CCE31-FC12-4AF2-9948-1FEA28DC84DB}" destId="{E31D6542-43F5-4E30-829A-20121F756C3D}" srcOrd="0" destOrd="0" presId="urn:microsoft.com/office/officeart/2005/8/layout/gear1"/>
    <dgm:cxn modelId="{42F05E24-7378-41AC-901E-D4E9DF54A8CE}" type="presOf" srcId="{F7FA20AF-692F-438A-B43B-31E97E2F1D0B}" destId="{DE5F4410-D78A-4B55-B573-C05D88687770}" srcOrd="1" destOrd="0" presId="urn:microsoft.com/office/officeart/2005/8/layout/gear1"/>
    <dgm:cxn modelId="{DB4DFC34-33B2-4611-B203-143A2A76C91B}" type="presOf" srcId="{F7FA20AF-692F-438A-B43B-31E97E2F1D0B}" destId="{203471BF-7B6A-46A2-B53D-8DEE2065256B}" srcOrd="2" destOrd="0" presId="urn:microsoft.com/office/officeart/2005/8/layout/gear1"/>
    <dgm:cxn modelId="{7FBC7164-5DB6-4750-9B2E-77FA3C0ADB47}" type="presOf" srcId="{51C3E895-7BC1-4CAD-A632-AD0BD0E99A43}" destId="{67F93E2F-AAD9-40A9-949F-D68DA82502C9}" srcOrd="2" destOrd="0" presId="urn:microsoft.com/office/officeart/2005/8/layout/gear1"/>
    <dgm:cxn modelId="{93E8E350-E2A9-4944-9050-EE67333EEEAC}" type="presOf" srcId="{DC16F825-E60A-4676-9D9F-8F34F89AE74C}" destId="{2B0B4073-A012-45B9-8255-2D064357BA2A}" srcOrd="0" destOrd="0" presId="urn:microsoft.com/office/officeart/2005/8/layout/gear1"/>
    <dgm:cxn modelId="{85320454-AD7D-44D1-B2C4-06BE4235B091}" srcId="{AAE03FE1-6419-4FA8-9BA7-2FDEE46ECA4C}" destId="{DC16F825-E60A-4676-9D9F-8F34F89AE74C}" srcOrd="1" destOrd="0" parTransId="{0A4DD108-256A-4040-90D5-2D110E2EED58}" sibTransId="{E2FFF843-24A4-4ECF-A917-5B1133F8E823}"/>
    <dgm:cxn modelId="{F9F7A676-AA84-409B-B53E-244CD6F74B85}" type="presOf" srcId="{E2FFF843-24A4-4ECF-A917-5B1133F8E823}" destId="{9433B5A6-903A-441D-8212-72792FCC9187}" srcOrd="0" destOrd="0" presId="urn:microsoft.com/office/officeart/2005/8/layout/gear1"/>
    <dgm:cxn modelId="{6846E184-CDCE-4AFB-A2ED-CDC6733A24C3}" type="presOf" srcId="{1BB8B3AB-DDD2-4360-BB2A-FE65FDEB6864}" destId="{DEFF9B24-0E49-4C54-9D49-797309B0DDBB}" srcOrd="0" destOrd="0" presId="urn:microsoft.com/office/officeart/2005/8/layout/gear1"/>
    <dgm:cxn modelId="{07FE6290-2372-47BD-91CD-0B06D7FC1EA5}" type="presOf" srcId="{51C3E895-7BC1-4CAD-A632-AD0BD0E99A43}" destId="{3FFBB43E-FF8D-4B2B-A3E8-F2AB337EECC5}" srcOrd="1" destOrd="0" presId="urn:microsoft.com/office/officeart/2005/8/layout/gear1"/>
    <dgm:cxn modelId="{36143F91-61B4-4DE7-82F2-F06E45C333D5}" type="presOf" srcId="{51C3E895-7BC1-4CAD-A632-AD0BD0E99A43}" destId="{5F9E463E-BAA7-45AF-8A1B-DB017F3643AB}" srcOrd="3" destOrd="0" presId="urn:microsoft.com/office/officeart/2005/8/layout/gear1"/>
    <dgm:cxn modelId="{FECE65A2-0E17-48DE-9B35-ECA6173B1373}" type="presOf" srcId="{DC16F825-E60A-4676-9D9F-8F34F89AE74C}" destId="{673F45A0-83E7-4B83-88A0-6C6C319336AB}" srcOrd="1" destOrd="0" presId="urn:microsoft.com/office/officeart/2005/8/layout/gear1"/>
    <dgm:cxn modelId="{8A9717B9-B513-4763-BE86-F8515EEF752B}" type="presOf" srcId="{AAE03FE1-6419-4FA8-9BA7-2FDEE46ECA4C}" destId="{A8E0970C-770A-4452-8963-B49CE71D04A9}" srcOrd="0" destOrd="0" presId="urn:microsoft.com/office/officeart/2005/8/layout/gear1"/>
    <dgm:cxn modelId="{7B47E8BA-A7C6-4BD7-84DA-D42E0C56663C}" type="presOf" srcId="{DC16F825-E60A-4676-9D9F-8F34F89AE74C}" destId="{4D213311-CD63-4330-BF5B-9764B4AF333D}" srcOrd="2" destOrd="0" presId="urn:microsoft.com/office/officeart/2005/8/layout/gear1"/>
    <dgm:cxn modelId="{F12854BF-140A-4E97-93EC-10459F05415B}" type="presOf" srcId="{51C3E895-7BC1-4CAD-A632-AD0BD0E99A43}" destId="{788D41A7-F66F-42CE-B237-74CC4AE7B465}" srcOrd="0" destOrd="0" presId="urn:microsoft.com/office/officeart/2005/8/layout/gear1"/>
    <dgm:cxn modelId="{2366AADC-E71D-427D-AE5F-4BC128637C33}" srcId="{AAE03FE1-6419-4FA8-9BA7-2FDEE46ECA4C}" destId="{51C3E895-7BC1-4CAD-A632-AD0BD0E99A43}" srcOrd="2" destOrd="0" parTransId="{41B58D87-962F-490E-BB57-9C32A33EC2DA}" sibTransId="{C89CCE31-FC12-4AF2-9948-1FEA28DC84DB}"/>
    <dgm:cxn modelId="{C4485A5F-3254-4485-8C2D-206D2C563B81}" type="presParOf" srcId="{A8E0970C-770A-4452-8963-B49CE71D04A9}" destId="{58791C74-F79A-40B4-941B-E7A6A62E996E}" srcOrd="0" destOrd="0" presId="urn:microsoft.com/office/officeart/2005/8/layout/gear1"/>
    <dgm:cxn modelId="{6841267D-C315-4F67-B722-5A162FF4CC20}" type="presParOf" srcId="{A8E0970C-770A-4452-8963-B49CE71D04A9}" destId="{DE5F4410-D78A-4B55-B573-C05D88687770}" srcOrd="1" destOrd="0" presId="urn:microsoft.com/office/officeart/2005/8/layout/gear1"/>
    <dgm:cxn modelId="{48F9B4C3-E8BD-498B-9DEA-B315046645A6}" type="presParOf" srcId="{A8E0970C-770A-4452-8963-B49CE71D04A9}" destId="{203471BF-7B6A-46A2-B53D-8DEE2065256B}" srcOrd="2" destOrd="0" presId="urn:microsoft.com/office/officeart/2005/8/layout/gear1"/>
    <dgm:cxn modelId="{C51C42BE-6C0C-4144-8EC2-6C7E57A3E9F1}" type="presParOf" srcId="{A8E0970C-770A-4452-8963-B49CE71D04A9}" destId="{2B0B4073-A012-45B9-8255-2D064357BA2A}" srcOrd="3" destOrd="0" presId="urn:microsoft.com/office/officeart/2005/8/layout/gear1"/>
    <dgm:cxn modelId="{3949CAE8-7B92-435C-8BE5-53D1B45574C1}" type="presParOf" srcId="{A8E0970C-770A-4452-8963-B49CE71D04A9}" destId="{673F45A0-83E7-4B83-88A0-6C6C319336AB}" srcOrd="4" destOrd="0" presId="urn:microsoft.com/office/officeart/2005/8/layout/gear1"/>
    <dgm:cxn modelId="{4D33B71F-E897-421B-9FED-8C5475B3F77E}" type="presParOf" srcId="{A8E0970C-770A-4452-8963-B49CE71D04A9}" destId="{4D213311-CD63-4330-BF5B-9764B4AF333D}" srcOrd="5" destOrd="0" presId="urn:microsoft.com/office/officeart/2005/8/layout/gear1"/>
    <dgm:cxn modelId="{808A051D-C5AA-48A6-B07E-AF9AEF5CB1BC}" type="presParOf" srcId="{A8E0970C-770A-4452-8963-B49CE71D04A9}" destId="{788D41A7-F66F-42CE-B237-74CC4AE7B465}" srcOrd="6" destOrd="0" presId="urn:microsoft.com/office/officeart/2005/8/layout/gear1"/>
    <dgm:cxn modelId="{0D23AEB9-5D84-462B-A4B9-73404D0E2472}" type="presParOf" srcId="{A8E0970C-770A-4452-8963-B49CE71D04A9}" destId="{3FFBB43E-FF8D-4B2B-A3E8-F2AB337EECC5}" srcOrd="7" destOrd="0" presId="urn:microsoft.com/office/officeart/2005/8/layout/gear1"/>
    <dgm:cxn modelId="{E055CBD0-D730-4AE9-88CE-3452D0780FCC}" type="presParOf" srcId="{A8E0970C-770A-4452-8963-B49CE71D04A9}" destId="{67F93E2F-AAD9-40A9-949F-D68DA82502C9}" srcOrd="8" destOrd="0" presId="urn:microsoft.com/office/officeart/2005/8/layout/gear1"/>
    <dgm:cxn modelId="{B2E3A2D9-3233-4B03-91C6-2C34097E43C8}" type="presParOf" srcId="{A8E0970C-770A-4452-8963-B49CE71D04A9}" destId="{5F9E463E-BAA7-45AF-8A1B-DB017F3643AB}" srcOrd="9" destOrd="0" presId="urn:microsoft.com/office/officeart/2005/8/layout/gear1"/>
    <dgm:cxn modelId="{0DCDBBFE-01AB-46F2-AAFA-DA3F1ED0A53F}" type="presParOf" srcId="{A8E0970C-770A-4452-8963-B49CE71D04A9}" destId="{DEFF9B24-0E49-4C54-9D49-797309B0DDBB}" srcOrd="10" destOrd="0" presId="urn:microsoft.com/office/officeart/2005/8/layout/gear1"/>
    <dgm:cxn modelId="{FC3E52A9-A15B-4C75-B73A-6981B014C4AE}" type="presParOf" srcId="{A8E0970C-770A-4452-8963-B49CE71D04A9}" destId="{9433B5A6-903A-441D-8212-72792FCC9187}" srcOrd="11" destOrd="0" presId="urn:microsoft.com/office/officeart/2005/8/layout/gear1"/>
    <dgm:cxn modelId="{DCC93AFC-5A09-41B8-A03A-F76A2F8C7D6E}" type="presParOf" srcId="{A8E0970C-770A-4452-8963-B49CE71D04A9}" destId="{E31D6542-43F5-4E30-829A-20121F756C3D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791C74-F79A-40B4-941B-E7A6A62E996E}">
      <dsp:nvSpPr>
        <dsp:cNvPr id="0" name=""/>
        <dsp:cNvSpPr/>
      </dsp:nvSpPr>
      <dsp:spPr>
        <a:xfrm>
          <a:off x="4200727" y="3060008"/>
          <a:ext cx="2273317" cy="1971982"/>
        </a:xfrm>
        <a:prstGeom prst="gear9">
          <a:avLst/>
        </a:prstGeom>
        <a:solidFill>
          <a:srgbClr val="2EB3E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Mercado de trabajo</a:t>
          </a:r>
        </a:p>
      </dsp:txBody>
      <dsp:txXfrm>
        <a:off x="4635243" y="3521935"/>
        <a:ext cx="1404285" cy="1013640"/>
      </dsp:txXfrm>
    </dsp:sp>
    <dsp:sp modelId="{2B0B4073-A012-45B9-8255-2D064357BA2A}">
      <dsp:nvSpPr>
        <dsp:cNvPr id="0" name=""/>
        <dsp:cNvSpPr/>
      </dsp:nvSpPr>
      <dsp:spPr>
        <a:xfrm>
          <a:off x="2337721" y="2083792"/>
          <a:ext cx="1718584" cy="1702761"/>
        </a:xfrm>
        <a:prstGeom prst="gear6">
          <a:avLst/>
        </a:prstGeom>
        <a:solidFill>
          <a:srgbClr val="2EB3E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Educación y formación</a:t>
          </a:r>
        </a:p>
      </dsp:txBody>
      <dsp:txXfrm>
        <a:off x="2768696" y="2515058"/>
        <a:ext cx="856634" cy="840229"/>
      </dsp:txXfrm>
    </dsp:sp>
    <dsp:sp modelId="{788D41A7-F66F-42CE-B237-74CC4AE7B465}">
      <dsp:nvSpPr>
        <dsp:cNvPr id="0" name=""/>
        <dsp:cNvSpPr/>
      </dsp:nvSpPr>
      <dsp:spPr>
        <a:xfrm rot="20700000">
          <a:off x="3677475" y="560388"/>
          <a:ext cx="2123675" cy="2123675"/>
        </a:xfrm>
        <a:prstGeom prst="gear6">
          <a:avLst/>
        </a:prstGeom>
        <a:solidFill>
          <a:srgbClr val="2EB3E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Demografía e inmigración</a:t>
          </a:r>
        </a:p>
      </dsp:txBody>
      <dsp:txXfrm rot="-20700000">
        <a:off x="4143259" y="1026172"/>
        <a:ext cx="1192106" cy="1192106"/>
      </dsp:txXfrm>
    </dsp:sp>
    <dsp:sp modelId="{DEFF9B24-0E49-4C54-9D49-797309B0DDBB}">
      <dsp:nvSpPr>
        <dsp:cNvPr id="0" name=""/>
        <dsp:cNvSpPr/>
      </dsp:nvSpPr>
      <dsp:spPr>
        <a:xfrm rot="403333">
          <a:off x="4292095" y="2581296"/>
          <a:ext cx="2558089" cy="2938838"/>
        </a:xfrm>
        <a:prstGeom prst="circularArrow">
          <a:avLst>
            <a:gd name="adj1" fmla="val 4688"/>
            <a:gd name="adj2" fmla="val 299029"/>
            <a:gd name="adj3" fmla="val 2539295"/>
            <a:gd name="adj4" fmla="val 15812321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33B5A6-903A-441D-8212-72792FCC9187}">
      <dsp:nvSpPr>
        <dsp:cNvPr id="0" name=""/>
        <dsp:cNvSpPr/>
      </dsp:nvSpPr>
      <dsp:spPr>
        <a:xfrm>
          <a:off x="1729425" y="1366607"/>
          <a:ext cx="2771648" cy="277164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1D6542-43F5-4E30-829A-20121F756C3D}">
      <dsp:nvSpPr>
        <dsp:cNvPr id="0" name=""/>
        <dsp:cNvSpPr/>
      </dsp:nvSpPr>
      <dsp:spPr>
        <a:xfrm>
          <a:off x="2959923" y="129184"/>
          <a:ext cx="2988394" cy="2988394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791C74-F79A-40B4-941B-E7A6A62E996E}">
      <dsp:nvSpPr>
        <dsp:cNvPr id="0" name=""/>
        <dsp:cNvSpPr/>
      </dsp:nvSpPr>
      <dsp:spPr>
        <a:xfrm>
          <a:off x="4200727" y="3060008"/>
          <a:ext cx="2273317" cy="1971982"/>
        </a:xfrm>
        <a:prstGeom prst="gear9">
          <a:avLst/>
        </a:prstGeom>
        <a:solidFill>
          <a:srgbClr val="2EB3E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Mercado de trabajo</a:t>
          </a:r>
        </a:p>
      </dsp:txBody>
      <dsp:txXfrm>
        <a:off x="4635243" y="3521935"/>
        <a:ext cx="1404285" cy="1013640"/>
      </dsp:txXfrm>
    </dsp:sp>
    <dsp:sp modelId="{2B0B4073-A012-45B9-8255-2D064357BA2A}">
      <dsp:nvSpPr>
        <dsp:cNvPr id="0" name=""/>
        <dsp:cNvSpPr/>
      </dsp:nvSpPr>
      <dsp:spPr>
        <a:xfrm>
          <a:off x="2337721" y="2083792"/>
          <a:ext cx="1718584" cy="1702761"/>
        </a:xfrm>
        <a:prstGeom prst="gear6">
          <a:avLst/>
        </a:prstGeom>
        <a:solidFill>
          <a:srgbClr val="2EB3E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Educación y formación</a:t>
          </a:r>
        </a:p>
      </dsp:txBody>
      <dsp:txXfrm>
        <a:off x="2768696" y="2515058"/>
        <a:ext cx="856634" cy="840229"/>
      </dsp:txXfrm>
    </dsp:sp>
    <dsp:sp modelId="{788D41A7-F66F-42CE-B237-74CC4AE7B465}">
      <dsp:nvSpPr>
        <dsp:cNvPr id="0" name=""/>
        <dsp:cNvSpPr/>
      </dsp:nvSpPr>
      <dsp:spPr>
        <a:xfrm rot="20700000">
          <a:off x="3677475" y="560388"/>
          <a:ext cx="2123675" cy="2123675"/>
        </a:xfrm>
        <a:prstGeom prst="gear6">
          <a:avLst/>
        </a:prstGeom>
        <a:solidFill>
          <a:srgbClr val="2EB3E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Demografía e inmigración</a:t>
          </a:r>
        </a:p>
      </dsp:txBody>
      <dsp:txXfrm rot="-20700000">
        <a:off x="4143259" y="1026172"/>
        <a:ext cx="1192106" cy="1192106"/>
      </dsp:txXfrm>
    </dsp:sp>
    <dsp:sp modelId="{DEFF9B24-0E49-4C54-9D49-797309B0DDBB}">
      <dsp:nvSpPr>
        <dsp:cNvPr id="0" name=""/>
        <dsp:cNvSpPr/>
      </dsp:nvSpPr>
      <dsp:spPr>
        <a:xfrm rot="403333">
          <a:off x="4292095" y="2581296"/>
          <a:ext cx="2558089" cy="2938838"/>
        </a:xfrm>
        <a:prstGeom prst="circularArrow">
          <a:avLst>
            <a:gd name="adj1" fmla="val 4688"/>
            <a:gd name="adj2" fmla="val 299029"/>
            <a:gd name="adj3" fmla="val 2539295"/>
            <a:gd name="adj4" fmla="val 15812321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33B5A6-903A-441D-8212-72792FCC9187}">
      <dsp:nvSpPr>
        <dsp:cNvPr id="0" name=""/>
        <dsp:cNvSpPr/>
      </dsp:nvSpPr>
      <dsp:spPr>
        <a:xfrm>
          <a:off x="1729425" y="1366607"/>
          <a:ext cx="2771648" cy="277164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1D6542-43F5-4E30-829A-20121F756C3D}">
      <dsp:nvSpPr>
        <dsp:cNvPr id="0" name=""/>
        <dsp:cNvSpPr/>
      </dsp:nvSpPr>
      <dsp:spPr>
        <a:xfrm>
          <a:off x="2959923" y="129184"/>
          <a:ext cx="2988394" cy="2988394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791C74-F79A-40B4-941B-E7A6A62E996E}">
      <dsp:nvSpPr>
        <dsp:cNvPr id="0" name=""/>
        <dsp:cNvSpPr/>
      </dsp:nvSpPr>
      <dsp:spPr>
        <a:xfrm>
          <a:off x="4200727" y="3060008"/>
          <a:ext cx="2273317" cy="1971982"/>
        </a:xfrm>
        <a:prstGeom prst="gear9">
          <a:avLst/>
        </a:prstGeom>
        <a:solidFill>
          <a:srgbClr val="2EB3E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Mercado de trabajo</a:t>
          </a:r>
        </a:p>
      </dsp:txBody>
      <dsp:txXfrm>
        <a:off x="4635243" y="3521935"/>
        <a:ext cx="1404285" cy="1013640"/>
      </dsp:txXfrm>
    </dsp:sp>
    <dsp:sp modelId="{2B0B4073-A012-45B9-8255-2D064357BA2A}">
      <dsp:nvSpPr>
        <dsp:cNvPr id="0" name=""/>
        <dsp:cNvSpPr/>
      </dsp:nvSpPr>
      <dsp:spPr>
        <a:xfrm>
          <a:off x="2337721" y="2083792"/>
          <a:ext cx="1718584" cy="1702761"/>
        </a:xfrm>
        <a:prstGeom prst="gear6">
          <a:avLst/>
        </a:prstGeom>
        <a:solidFill>
          <a:srgbClr val="2EB3E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Educación y formación</a:t>
          </a:r>
        </a:p>
      </dsp:txBody>
      <dsp:txXfrm>
        <a:off x="2768696" y="2515058"/>
        <a:ext cx="856634" cy="840229"/>
      </dsp:txXfrm>
    </dsp:sp>
    <dsp:sp modelId="{788D41A7-F66F-42CE-B237-74CC4AE7B465}">
      <dsp:nvSpPr>
        <dsp:cNvPr id="0" name=""/>
        <dsp:cNvSpPr/>
      </dsp:nvSpPr>
      <dsp:spPr>
        <a:xfrm rot="20700000">
          <a:off x="3677475" y="560388"/>
          <a:ext cx="2123675" cy="2123675"/>
        </a:xfrm>
        <a:prstGeom prst="gear6">
          <a:avLst/>
        </a:prstGeom>
        <a:solidFill>
          <a:srgbClr val="2EB3E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300" kern="1200" dirty="0"/>
            <a:t>Demografía e inmigración</a:t>
          </a:r>
        </a:p>
      </dsp:txBody>
      <dsp:txXfrm rot="-20700000">
        <a:off x="4143259" y="1026172"/>
        <a:ext cx="1192106" cy="1192106"/>
      </dsp:txXfrm>
    </dsp:sp>
    <dsp:sp modelId="{DEFF9B24-0E49-4C54-9D49-797309B0DDBB}">
      <dsp:nvSpPr>
        <dsp:cNvPr id="0" name=""/>
        <dsp:cNvSpPr/>
      </dsp:nvSpPr>
      <dsp:spPr>
        <a:xfrm rot="403333">
          <a:off x="4292095" y="2581296"/>
          <a:ext cx="2558089" cy="2938838"/>
        </a:xfrm>
        <a:prstGeom prst="circularArrow">
          <a:avLst>
            <a:gd name="adj1" fmla="val 4688"/>
            <a:gd name="adj2" fmla="val 299029"/>
            <a:gd name="adj3" fmla="val 2539295"/>
            <a:gd name="adj4" fmla="val 15812321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33B5A6-903A-441D-8212-72792FCC9187}">
      <dsp:nvSpPr>
        <dsp:cNvPr id="0" name=""/>
        <dsp:cNvSpPr/>
      </dsp:nvSpPr>
      <dsp:spPr>
        <a:xfrm>
          <a:off x="1729425" y="1366607"/>
          <a:ext cx="2771648" cy="277164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1D6542-43F5-4E30-829A-20121F756C3D}">
      <dsp:nvSpPr>
        <dsp:cNvPr id="0" name=""/>
        <dsp:cNvSpPr/>
      </dsp:nvSpPr>
      <dsp:spPr>
        <a:xfrm>
          <a:off x="2959923" y="129184"/>
          <a:ext cx="2988394" cy="2988394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2164</cdr:x>
      <cdr:y>0.9238</cdr:y>
    </cdr:from>
    <cdr:to>
      <cdr:x>0.79697</cdr:x>
      <cdr:y>1</cdr:y>
    </cdr:to>
    <cdr:sp macro="" textlink="">
      <cdr:nvSpPr>
        <cdr:cNvPr id="2" name="CuadroTexto 26">
          <a:extLst xmlns:a="http://schemas.openxmlformats.org/drawingml/2006/main">
            <a:ext uri="{FF2B5EF4-FFF2-40B4-BE49-F238E27FC236}">
              <a16:creationId xmlns:a16="http://schemas.microsoft.com/office/drawing/2014/main" id="{0EDC504E-072A-46AB-B697-04E455B884B7}"/>
            </a:ext>
          </a:extLst>
        </cdr:cNvPr>
        <cdr:cNvSpPr txBox="1"/>
      </cdr:nvSpPr>
      <cdr:spPr>
        <a:xfrm xmlns:a="http://schemas.openxmlformats.org/drawingml/2006/main">
          <a:off x="3468366" y="4735693"/>
          <a:ext cx="1830695" cy="39062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_tradnl"/>
          </a:defPPr>
          <a:lvl1pPr algn="l" rtl="0" fontAlgn="base">
            <a:spcBef>
              <a:spcPct val="0"/>
            </a:spcBef>
            <a:spcAft>
              <a:spcPct val="0"/>
            </a:spcAft>
            <a:defRPr sz="1200" b="1" u="sng" kern="1200">
              <a:solidFill>
                <a:schemeClr val="tx1"/>
              </a:solidFill>
              <a:latin typeface="Arial" charset="0"/>
              <a:ea typeface="ＭＳ Ｐゴシック" pitchFamily="34" charset="-128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200" b="1" u="sng" kern="1200">
              <a:solidFill>
                <a:schemeClr val="tx1"/>
              </a:solidFill>
              <a:latin typeface="Arial" charset="0"/>
              <a:ea typeface="ＭＳ Ｐゴシック" pitchFamily="34" charset="-128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200" b="1" u="sng" kern="1200">
              <a:solidFill>
                <a:schemeClr val="tx1"/>
              </a:solidFill>
              <a:latin typeface="Arial" charset="0"/>
              <a:ea typeface="ＭＳ Ｐゴシック" pitchFamily="34" charset="-128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200" b="1" u="sng" kern="1200">
              <a:solidFill>
                <a:schemeClr val="tx1"/>
              </a:solidFill>
              <a:latin typeface="Arial" charset="0"/>
              <a:ea typeface="ＭＳ Ｐゴシック" pitchFamily="34" charset="-128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200" b="1" u="sng" kern="1200">
              <a:solidFill>
                <a:schemeClr val="tx1"/>
              </a:solidFill>
              <a:latin typeface="Arial" charset="0"/>
              <a:ea typeface="ＭＳ Ｐゴシック" pitchFamily="34" charset="-128"/>
              <a:cs typeface="+mn-cs"/>
            </a:defRPr>
          </a:lvl5pPr>
          <a:lvl6pPr marL="2286000" algn="l" defTabSz="914400" rtl="0" eaLnBrk="1" latinLnBrk="0" hangingPunct="1">
            <a:defRPr sz="1200" b="1" u="sng" kern="1200">
              <a:solidFill>
                <a:schemeClr val="tx1"/>
              </a:solidFill>
              <a:latin typeface="Arial" charset="0"/>
              <a:ea typeface="ＭＳ Ｐゴシック" pitchFamily="34" charset="-128"/>
              <a:cs typeface="+mn-cs"/>
            </a:defRPr>
          </a:lvl6pPr>
          <a:lvl7pPr marL="2743200" algn="l" defTabSz="914400" rtl="0" eaLnBrk="1" latinLnBrk="0" hangingPunct="1">
            <a:defRPr sz="1200" b="1" u="sng" kern="1200">
              <a:solidFill>
                <a:schemeClr val="tx1"/>
              </a:solidFill>
              <a:latin typeface="Arial" charset="0"/>
              <a:ea typeface="ＭＳ Ｐゴシック" pitchFamily="34" charset="-128"/>
              <a:cs typeface="+mn-cs"/>
            </a:defRPr>
          </a:lvl7pPr>
          <a:lvl8pPr marL="3200400" algn="l" defTabSz="914400" rtl="0" eaLnBrk="1" latinLnBrk="0" hangingPunct="1">
            <a:defRPr sz="1200" b="1" u="sng" kern="1200">
              <a:solidFill>
                <a:schemeClr val="tx1"/>
              </a:solidFill>
              <a:latin typeface="Arial" charset="0"/>
              <a:ea typeface="ＭＳ Ｐゴシック" pitchFamily="34" charset="-128"/>
              <a:cs typeface="+mn-cs"/>
            </a:defRPr>
          </a:lvl8pPr>
          <a:lvl9pPr marL="3657600" algn="l" defTabSz="914400" rtl="0" eaLnBrk="1" latinLnBrk="0" hangingPunct="1">
            <a:defRPr sz="1200" b="1" u="sng" kern="1200">
              <a:solidFill>
                <a:schemeClr val="tx1"/>
              </a:solidFill>
              <a:latin typeface="Arial" charset="0"/>
              <a:ea typeface="ＭＳ Ｐゴシック" pitchFamily="34" charset="-128"/>
              <a:cs typeface="+mn-cs"/>
            </a:defRPr>
          </a:lvl9pPr>
        </a:lstStyle>
        <a:p xmlns:a="http://schemas.openxmlformats.org/drawingml/2006/main">
          <a:r>
            <a:rPr lang="es-ES" sz="969" u="none" dirty="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</a:rPr>
            <a:t>Después de las transferencias públicas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F9FCED-22CF-44AB-B146-88DD10D3D958}" type="datetimeFigureOut">
              <a:rPr lang="en-GB" smtClean="0"/>
              <a:t>14/11/2021</a:t>
            </a:fld>
            <a:endParaRPr lang="en-GB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4C2F49-D387-4ACB-BEB9-7EE53B7104B5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1307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8DE0F3-B975-4963-9014-08A395AC2DE7}" type="datetimeFigureOut">
              <a:rPr lang="es-ES" smtClean="0"/>
              <a:t>14/11/2021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341446-17E8-4E45-88FC-F7054613C66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43291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10 programas suman 50.000 M€,</a:t>
            </a:r>
            <a:r>
              <a:rPr lang="es-ES" baseline="0" dirty="0"/>
              <a:t> 70% de todos los fondos</a:t>
            </a:r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CF3800-6E7F-471E-BCF5-7F09A5529437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732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paña experimenta el mayor aumento de la tasa de dependencia en Europa</a:t>
            </a:r>
          </a:p>
          <a:p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l peso relativo de los +65 años relativo a la población en edad d trabajar no tiene comparación con ninguna etapa anterior</a:t>
            </a:r>
          </a:p>
          <a:p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 acelera el envejecimiento: 1960 – 2010 + 12pp 2010-2060 +34pp</a:t>
            </a:r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341446-17E8-4E45-88FC-F7054613C661}" type="slidenum">
              <a:rPr lang="es-ES" smtClean="0"/>
              <a:t>2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907759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72B36C-C5AB-400C-A670-5A3E555A4D8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4912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5E75C76-0EF6-4FFC-B592-030248704CBC}" type="slidenum">
              <a:rPr lang="es-ES_tradnl" smtClean="0"/>
              <a:pPr>
                <a:defRPr/>
              </a:pPr>
              <a:t>27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9388960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CF3800-6E7F-471E-BCF5-7F09A5529437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82540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10 programas suman 50.000 M€,</a:t>
            </a:r>
            <a:r>
              <a:rPr lang="es-ES" baseline="0" dirty="0"/>
              <a:t> 70% de todos los fondos</a:t>
            </a:r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CF3800-6E7F-471E-BCF5-7F09A5529437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12602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b="1" dirty="0"/>
              <a:t>Aumento de la esperanza de vida en años (2019- 2045)</a:t>
            </a:r>
          </a:p>
          <a:p>
            <a:r>
              <a:rPr lang="es-ES" b="1" dirty="0"/>
              <a:t>España 81,2 (2019) a 84,3 años (2045) </a:t>
            </a:r>
            <a:r>
              <a:rPr lang="es-ES" dirty="0"/>
              <a:t>(ya inicialmente una de las mayores esperanzas de vida de Europa)</a:t>
            </a:r>
          </a:p>
          <a:p>
            <a:r>
              <a:rPr lang="es-ES" dirty="0"/>
              <a:t>Zona Euro 80 a 84,4 años</a:t>
            </a:r>
          </a:p>
          <a:p>
            <a:r>
              <a:rPr lang="es-ES" dirty="0"/>
              <a:t>Portugal 78,6 a 82,5 años</a:t>
            </a:r>
          </a:p>
          <a:p>
            <a:r>
              <a:rPr lang="es-ES" dirty="0"/>
              <a:t>Francia 80,1 a 83,7 años</a:t>
            </a:r>
          </a:p>
          <a:p>
            <a:r>
              <a:rPr lang="es-ES" dirty="0"/>
              <a:t>Alemania 79,1 a 82,8 años</a:t>
            </a:r>
          </a:p>
          <a:p>
            <a:r>
              <a:rPr lang="es-ES" dirty="0"/>
              <a:t>Italia 81,3 a 84,3 años</a:t>
            </a:r>
          </a:p>
          <a:p>
            <a:endParaRPr lang="es-ES" dirty="0"/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341446-17E8-4E45-88FC-F7054613C661}" type="slidenum">
              <a:rPr lang="es-ES" smtClean="0"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513908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dicador Coyuntural de Fecundidad - </a:t>
            </a:r>
            <a:r>
              <a:rPr lang="es-E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jos por mujer en edad fértil</a:t>
            </a:r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341446-17E8-4E45-88FC-F7054613C661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352089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10 programas suman 50.000 M€,</a:t>
            </a:r>
            <a:r>
              <a:rPr lang="es-ES" baseline="0" dirty="0"/>
              <a:t> 70% de todos los fondos</a:t>
            </a:r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CF3800-6E7F-471E-BCF5-7F09A5529437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64068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Envejecimiento reduce el crecimiento anual del PIB per </a:t>
            </a:r>
            <a:r>
              <a:rPr lang="es-ES" dirty="0" err="1"/>
              <a:t>capita</a:t>
            </a:r>
            <a:r>
              <a:rPr lang="es-ES" dirty="0"/>
              <a:t> en -0,7pp (2020-30), en -0,6pp (2030-40) y en -0,1pp (2040-50). 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341446-17E8-4E45-88FC-F7054613C661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905869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341446-17E8-4E45-88FC-F7054613C661}" type="slidenum">
              <a:rPr lang="es-ES" smtClean="0"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165182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10 programas suman 50.000 M€,</a:t>
            </a:r>
            <a:r>
              <a:rPr lang="es-ES" baseline="0" dirty="0"/>
              <a:t> 70% de todos los fondos</a:t>
            </a:r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CF3800-6E7F-471E-BCF5-7F09A5529437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2485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8.xml"/><Relationship Id="rId1" Type="http://schemas.openxmlformats.org/officeDocument/2006/relationships/themeOverride" Target="../theme/themeOverride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53670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marL="0" indent="0" algn="l">
              <a:lnSpc>
                <a:spcPts val="2600"/>
              </a:lnSpc>
              <a:spcAft>
                <a:spcPts val="0"/>
              </a:spcAft>
              <a:buNone/>
              <a:defRPr sz="2600" b="0">
                <a:solidFill>
                  <a:srgbClr val="2EB3EE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38646803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53670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marL="0" indent="0" algn="l">
              <a:lnSpc>
                <a:spcPts val="2600"/>
              </a:lnSpc>
              <a:spcAft>
                <a:spcPts val="0"/>
              </a:spcAft>
              <a:buNone/>
              <a:defRPr sz="2600" b="0">
                <a:solidFill>
                  <a:srgbClr val="2EB3EE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14589332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53670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sz="2600" b="0">
                <a:solidFill>
                  <a:srgbClr val="4ABDF0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1766809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2161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exto / bullets +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Text Placeholder 7">
            <a:extLst>
              <a:ext uri="{FF2B5EF4-FFF2-40B4-BE49-F238E27FC236}">
                <a16:creationId xmlns:a16="http://schemas.microsoft.com/office/drawing/2014/main" id="{B4C8EF11-8C20-4817-8803-5ED79D2D90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18" y="287844"/>
            <a:ext cx="11037483" cy="44828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>
                <a:solidFill>
                  <a:srgbClr val="4ABDF0"/>
                </a:solidFill>
              </a:defRPr>
            </a:lvl1pPr>
          </a:lstStyle>
          <a:p>
            <a:pPr lvl="0"/>
            <a:r>
              <a:rPr lang="en-US" err="1"/>
              <a:t>Ejemplo</a:t>
            </a:r>
            <a:r>
              <a:rPr lang="en-US"/>
              <a:t> de </a:t>
            </a:r>
            <a:r>
              <a:rPr lang="en-US" err="1"/>
              <a:t>diapositiva</a:t>
            </a:r>
            <a:r>
              <a:rPr lang="en-US"/>
              <a:t> con </a:t>
            </a:r>
            <a:r>
              <a:rPr lang="en-US" err="1"/>
              <a:t>texto</a:t>
            </a:r>
            <a:r>
              <a:rPr lang="en-US"/>
              <a:t> / bullets + imagen</a:t>
            </a:r>
          </a:p>
        </p:txBody>
      </p:sp>
      <p:sp>
        <p:nvSpPr>
          <p:cNvPr id="255" name="Text Placeholder 7">
            <a:extLst>
              <a:ext uri="{FF2B5EF4-FFF2-40B4-BE49-F238E27FC236}">
                <a16:creationId xmlns:a16="http://schemas.microsoft.com/office/drawing/2014/main" id="{01E3F3C4-C96B-47F4-825C-B82511733E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6543" y="-955016"/>
            <a:ext cx="11037483" cy="2720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err="1"/>
              <a:t>Ejemplo</a:t>
            </a:r>
            <a:r>
              <a:rPr lang="en-US"/>
              <a:t> de </a:t>
            </a:r>
            <a:r>
              <a:rPr lang="en-US" err="1"/>
              <a:t>subtítulo</a:t>
            </a:r>
            <a:r>
              <a:rPr lang="en-US"/>
              <a:t> de </a:t>
            </a:r>
            <a:r>
              <a:rPr lang="en-US" err="1"/>
              <a:t>diapositiva</a:t>
            </a:r>
            <a:endParaRPr lang="en-US"/>
          </a:p>
        </p:txBody>
      </p:sp>
      <p:cxnSp>
        <p:nvCxnSpPr>
          <p:cNvPr id="15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11563"/>
            <a:ext cx="0" cy="600844"/>
          </a:xfrm>
          <a:prstGeom prst="line">
            <a:avLst/>
          </a:prstGeom>
          <a:ln w="38100" cap="rnd">
            <a:solidFill>
              <a:srgbClr val="4ABDF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92898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53670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marL="0" indent="0" algn="l">
              <a:lnSpc>
                <a:spcPts val="2600"/>
              </a:lnSpc>
              <a:spcAft>
                <a:spcPts val="0"/>
              </a:spcAft>
              <a:buNone/>
              <a:defRPr sz="2600" b="0">
                <a:solidFill>
                  <a:srgbClr val="2EB3EE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33449023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30987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53670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sz="2600" b="0">
                <a:solidFill>
                  <a:srgbClr val="4ABDF0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16939495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8313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07153"/>
            <a:ext cx="11519520" cy="214314"/>
          </a:xfrm>
          <a:prstGeom prst="rect">
            <a:avLst/>
          </a:prstGeom>
        </p:spPr>
        <p:txBody>
          <a:bodyPr rIns="0" anchor="ctr" anchorCtr="0"/>
          <a:lstStyle>
            <a:lvl1pPr algn="l">
              <a:lnSpc>
                <a:spcPts val="2600"/>
              </a:lnSpc>
              <a:spcAft>
                <a:spcPts val="0"/>
              </a:spcAft>
              <a:buNone/>
              <a:defRPr sz="2600" b="0">
                <a:solidFill>
                  <a:srgbClr val="2EB3EE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3061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14894405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4067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53670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sz="2600" b="0">
                <a:solidFill>
                  <a:srgbClr val="4ABDF0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11086158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exto / bullets +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Text Placeholder 7">
            <a:extLst>
              <a:ext uri="{FF2B5EF4-FFF2-40B4-BE49-F238E27FC236}">
                <a16:creationId xmlns:a16="http://schemas.microsoft.com/office/drawing/2014/main" id="{B4C8EF11-8C20-4817-8803-5ED79D2D90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18" y="287844"/>
            <a:ext cx="11037483" cy="44828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>
                <a:solidFill>
                  <a:srgbClr val="4ABDF0"/>
                </a:solidFill>
              </a:defRPr>
            </a:lvl1pPr>
          </a:lstStyle>
          <a:p>
            <a:pPr lvl="0"/>
            <a:r>
              <a:rPr lang="en-US" err="1"/>
              <a:t>Ejemplo</a:t>
            </a:r>
            <a:r>
              <a:rPr lang="en-US"/>
              <a:t> de </a:t>
            </a:r>
            <a:r>
              <a:rPr lang="en-US" err="1"/>
              <a:t>diapositiva</a:t>
            </a:r>
            <a:r>
              <a:rPr lang="en-US"/>
              <a:t> con </a:t>
            </a:r>
            <a:r>
              <a:rPr lang="en-US" err="1"/>
              <a:t>texto</a:t>
            </a:r>
            <a:r>
              <a:rPr lang="en-US"/>
              <a:t> / bullets + imagen</a:t>
            </a:r>
          </a:p>
        </p:txBody>
      </p:sp>
      <p:sp>
        <p:nvSpPr>
          <p:cNvPr id="255" name="Text Placeholder 7">
            <a:extLst>
              <a:ext uri="{FF2B5EF4-FFF2-40B4-BE49-F238E27FC236}">
                <a16:creationId xmlns:a16="http://schemas.microsoft.com/office/drawing/2014/main" id="{01E3F3C4-C96B-47F4-825C-B82511733E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6543" y="-955016"/>
            <a:ext cx="11037483" cy="2720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err="1"/>
              <a:t>Ejemplo</a:t>
            </a:r>
            <a:r>
              <a:rPr lang="en-US"/>
              <a:t> de </a:t>
            </a:r>
            <a:r>
              <a:rPr lang="en-US" err="1"/>
              <a:t>subtítulo</a:t>
            </a:r>
            <a:r>
              <a:rPr lang="en-US"/>
              <a:t> de </a:t>
            </a:r>
            <a:r>
              <a:rPr lang="en-US" err="1"/>
              <a:t>diapositiva</a:t>
            </a:r>
            <a:endParaRPr lang="en-US"/>
          </a:p>
        </p:txBody>
      </p:sp>
      <p:cxnSp>
        <p:nvCxnSpPr>
          <p:cNvPr id="15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11563"/>
            <a:ext cx="0" cy="600844"/>
          </a:xfrm>
          <a:prstGeom prst="line">
            <a:avLst/>
          </a:prstGeom>
          <a:ln w="38100" cap="rnd">
            <a:solidFill>
              <a:srgbClr val="4ABDF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93436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Portada horizont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7FF6C47-31BF-44D1-8739-C57785E7E37B}"/>
              </a:ext>
            </a:extLst>
          </p:cNvPr>
          <p:cNvCxnSpPr>
            <a:cxnSpLocks/>
          </p:cNvCxnSpPr>
          <p:nvPr/>
        </p:nvCxnSpPr>
        <p:spPr>
          <a:xfrm>
            <a:off x="547543" y="-75987"/>
            <a:ext cx="0" cy="7184571"/>
          </a:xfrm>
          <a:prstGeom prst="line">
            <a:avLst/>
          </a:prstGeom>
          <a:ln cap="rnd">
            <a:solidFill>
              <a:srgbClr val="4ABDF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08">
            <a:extLst>
              <a:ext uri="{FF2B5EF4-FFF2-40B4-BE49-F238E27FC236}">
                <a16:creationId xmlns:a16="http://schemas.microsoft.com/office/drawing/2014/main" id="{933CF14C-D970-4DEA-B2FF-2B082BC8F3C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47543" y="-163800"/>
            <a:ext cx="0" cy="7185600"/>
          </a:xfrm>
          <a:prstGeom prst="rect">
            <a:avLst/>
          </a:prstGeom>
          <a:noFill/>
          <a:ln w="6350">
            <a:solidFill>
              <a:srgbClr val="4ABDF0"/>
            </a:solidFill>
          </a:ln>
        </p:spPr>
        <p:txBody>
          <a:bodyPr wrap="none" lIns="0" tIns="0" rIns="0" bIns="0"/>
          <a:lstStyle>
            <a:lvl1pPr marL="0" indent="0">
              <a:buNone/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2" name="Rectángulo 1"/>
          <p:cNvSpPr/>
          <p:nvPr userDrawn="1"/>
        </p:nvSpPr>
        <p:spPr>
          <a:xfrm>
            <a:off x="11376837" y="6602819"/>
            <a:ext cx="680483" cy="255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1200" b="1" u="sng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4422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a-ES" sz="1200" u="sng" baseline="30000" dirty="0">
              <a:solidFill>
                <a:prstClr val="black"/>
              </a:solidFill>
              <a:latin typeface="Arial" pitchFamily="34" charset="0"/>
              <a:ea typeface="ＭＳ Ｐゴシック" pitchFamily="1" charset="-128"/>
              <a:cs typeface="Arial" charset="0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DA5297-3E08-4C9A-B238-7A781E48082A}" type="slidenum">
              <a:rPr lang="es-ES_tradnl" b="1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_tradnl" b="1" dirty="0"/>
          </a:p>
        </p:txBody>
      </p:sp>
    </p:spTree>
    <p:extLst>
      <p:ext uri="{BB962C8B-B14F-4D97-AF65-F5344CB8AC3E}">
        <p14:creationId xmlns:p14="http://schemas.microsoft.com/office/powerpoint/2010/main" val="1404093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64303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algn="l">
              <a:lnSpc>
                <a:spcPts val="2600"/>
              </a:lnSpc>
              <a:spcAft>
                <a:spcPts val="0"/>
              </a:spcAft>
              <a:buNone/>
              <a:defRPr sz="2600" b="0">
                <a:solidFill>
                  <a:srgbClr val="2EB3EE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5825157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34542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o / bullets +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Text Placeholder 7">
            <a:extLst>
              <a:ext uri="{FF2B5EF4-FFF2-40B4-BE49-F238E27FC236}">
                <a16:creationId xmlns:a16="http://schemas.microsoft.com/office/drawing/2014/main" id="{B4C8EF11-8C20-4817-8803-5ED79D2D90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18" y="287844"/>
            <a:ext cx="11037483" cy="44828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>
                <a:solidFill>
                  <a:srgbClr val="4ABDF0"/>
                </a:solidFill>
              </a:defRPr>
            </a:lvl1pPr>
          </a:lstStyle>
          <a:p>
            <a:pPr lvl="0"/>
            <a:r>
              <a:rPr lang="en-US" err="1"/>
              <a:t>Ejemplo</a:t>
            </a:r>
            <a:r>
              <a:rPr lang="en-US"/>
              <a:t> de </a:t>
            </a:r>
            <a:r>
              <a:rPr lang="en-US" err="1"/>
              <a:t>diapositiva</a:t>
            </a:r>
            <a:r>
              <a:rPr lang="en-US"/>
              <a:t> con </a:t>
            </a:r>
            <a:r>
              <a:rPr lang="en-US" err="1"/>
              <a:t>texto</a:t>
            </a:r>
            <a:r>
              <a:rPr lang="en-US"/>
              <a:t> / bullets + imagen</a:t>
            </a:r>
          </a:p>
        </p:txBody>
      </p:sp>
      <p:sp>
        <p:nvSpPr>
          <p:cNvPr id="255" name="Text Placeholder 7">
            <a:extLst>
              <a:ext uri="{FF2B5EF4-FFF2-40B4-BE49-F238E27FC236}">
                <a16:creationId xmlns:a16="http://schemas.microsoft.com/office/drawing/2014/main" id="{01E3F3C4-C96B-47F4-825C-B82511733E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6543" y="-955016"/>
            <a:ext cx="11037483" cy="2720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err="1"/>
              <a:t>Ejemplo</a:t>
            </a:r>
            <a:r>
              <a:rPr lang="en-US"/>
              <a:t> de </a:t>
            </a:r>
            <a:r>
              <a:rPr lang="en-US" err="1"/>
              <a:t>subtítulo</a:t>
            </a:r>
            <a:r>
              <a:rPr lang="en-US"/>
              <a:t> de </a:t>
            </a:r>
            <a:r>
              <a:rPr lang="en-US" err="1"/>
              <a:t>diapositiva</a:t>
            </a:r>
            <a:endParaRPr lang="en-US"/>
          </a:p>
        </p:txBody>
      </p:sp>
      <p:cxnSp>
        <p:nvCxnSpPr>
          <p:cNvPr id="15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11563"/>
            <a:ext cx="0" cy="600844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855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6189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53670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sz="2600" b="0">
                <a:solidFill>
                  <a:srgbClr val="2EB3EE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cxnSp>
        <p:nvCxnSpPr>
          <p:cNvPr id="7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9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294908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1373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ixaBank_1 bloc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31803" y="1114430"/>
            <a:ext cx="11324167" cy="34131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38515" y="606070"/>
            <a:ext cx="8667736" cy="214314"/>
          </a:xfrm>
          <a:prstGeom prst="rect">
            <a:avLst/>
          </a:prstGeom>
        </p:spPr>
        <p:txBody>
          <a:bodyPr rIns="0"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47377" y="6515828"/>
            <a:ext cx="1302153" cy="16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b="0" u="none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E7AF6313-5450-4250-AD5A-6CE39DCA2D66}" type="datetime1">
              <a:rPr lang="es-ES_tradnl" smtClean="0"/>
              <a:pPr>
                <a:defRPr/>
              </a:pPr>
              <a:t>14/11/2021</a:t>
            </a:fld>
            <a:endParaRPr lang="es-ES_tradnl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4734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29033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74936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algn="l">
              <a:lnSpc>
                <a:spcPts val="2600"/>
              </a:lnSpc>
              <a:spcAft>
                <a:spcPts val="0"/>
              </a:spcAft>
              <a:buNone/>
              <a:defRPr sz="2600" b="0">
                <a:solidFill>
                  <a:srgbClr val="2EB3EE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13131614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844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ixaBank_16:9_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47378" y="6515828"/>
            <a:ext cx="1302153" cy="16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000" b="0" u="none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55076AE-365E-401C-96B6-DE91CEF4285F}" type="datetime1">
              <a:rPr lang="es-ES_tradn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/11/2021</a:t>
            </a:fld>
            <a:endParaRPr lang="es-ES_tradnl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4736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000" b="0" u="none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DA5297-3E08-4C9A-B238-7A781E48082A}" type="slidenum">
              <a:rPr lang="es-ES_tradn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47163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4250" y="924719"/>
            <a:ext cx="11592000" cy="341313"/>
          </a:xfrm>
        </p:spPr>
        <p:txBody>
          <a:bodyPr/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131974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4250" y="924719"/>
            <a:ext cx="11592000" cy="341313"/>
          </a:xfrm>
        </p:spPr>
        <p:txBody>
          <a:bodyPr/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029821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545203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5 Rectángulo"/>
          <p:cNvSpPr/>
          <p:nvPr userDrawn="1"/>
        </p:nvSpPr>
        <p:spPr bwMode="auto">
          <a:xfrm>
            <a:off x="0" y="925284"/>
            <a:ext cx="12192000" cy="552050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a-ES" sz="1200" u="sng" baseline="300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70877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  <a:endParaRPr lang="ca-ES" dirty="0"/>
          </a:p>
        </p:txBody>
      </p:sp>
      <p:sp>
        <p:nvSpPr>
          <p:cNvPr id="12" name="11 Marcador de texto"/>
          <p:cNvSpPr>
            <a:spLocks noGrp="1"/>
          </p:cNvSpPr>
          <p:nvPr>
            <p:ph type="body" sz="quarter" idx="13"/>
          </p:nvPr>
        </p:nvSpPr>
        <p:spPr>
          <a:xfrm>
            <a:off x="666751" y="1714501"/>
            <a:ext cx="10858500" cy="4500563"/>
          </a:xfrm>
        </p:spPr>
        <p:txBody>
          <a:bodyPr/>
          <a:lstStyle>
            <a:lvl1pPr>
              <a:defRPr sz="1300">
                <a:solidFill>
                  <a:srgbClr val="333333"/>
                </a:solidFill>
              </a:defRPr>
            </a:lvl1pPr>
            <a:lvl2pPr>
              <a:defRPr sz="1300">
                <a:solidFill>
                  <a:srgbClr val="333333"/>
                </a:solidFill>
              </a:defRPr>
            </a:lvl2pPr>
            <a:lvl3pPr>
              <a:defRPr sz="1300">
                <a:solidFill>
                  <a:srgbClr val="333333"/>
                </a:solidFill>
              </a:defRPr>
            </a:lvl3pPr>
            <a:lvl4pPr>
              <a:defRPr sz="1300">
                <a:solidFill>
                  <a:srgbClr val="333333"/>
                </a:solidFill>
              </a:defRPr>
            </a:lvl4pPr>
            <a:lvl5pPr>
              <a:defRPr sz="1300">
                <a:solidFill>
                  <a:srgbClr val="333333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24530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ixaBank_2 blocs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Diapositiva de think-cell" r:id="rId4" imgW="723" imgH="724" progId="TCLayout.ActiveDocument.1">
                  <p:embed/>
                </p:oleObj>
              </mc:Choice>
              <mc:Fallback>
                <p:oleObj name="Diapositiva de think-cell" r:id="rId4" imgW="723" imgH="724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1 Título"/>
          <p:cNvSpPr txBox="1">
            <a:spLocks/>
          </p:cNvSpPr>
          <p:nvPr userDrawn="1"/>
        </p:nvSpPr>
        <p:spPr bwMode="auto">
          <a:xfrm>
            <a:off x="6225700" y="925016"/>
            <a:ext cx="5672841" cy="341313"/>
          </a:xfrm>
          <a:prstGeom prst="rect">
            <a:avLst/>
          </a:prstGeom>
          <a:solidFill>
            <a:srgbClr val="009AD8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>
              <a:defRPr sz="1600"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ca-ES" kern="0" baseline="30000" dirty="0">
              <a:solidFill>
                <a:prstClr val="white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1 Título"/>
          <p:cNvSpPr txBox="1">
            <a:spLocks/>
          </p:cNvSpPr>
          <p:nvPr userDrawn="1"/>
        </p:nvSpPr>
        <p:spPr bwMode="auto">
          <a:xfrm>
            <a:off x="304800" y="925016"/>
            <a:ext cx="5712000" cy="341313"/>
          </a:xfrm>
          <a:prstGeom prst="rect">
            <a:avLst/>
          </a:prstGeom>
          <a:solidFill>
            <a:srgbClr val="009AD8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>
              <a:defRPr sz="1600"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ca-ES" kern="0" baseline="30000" dirty="0">
              <a:solidFill>
                <a:prstClr val="white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6 Marcador de texto"/>
          <p:cNvSpPr>
            <a:spLocks noGrp="1"/>
          </p:cNvSpPr>
          <p:nvPr>
            <p:ph type="body" sz="quarter" idx="14" hasCustomPrompt="1"/>
          </p:nvPr>
        </p:nvSpPr>
        <p:spPr>
          <a:xfrm>
            <a:off x="424800" y="984157"/>
            <a:ext cx="5472000" cy="21431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Fes clic per </a:t>
            </a:r>
            <a:r>
              <a:rPr lang="es-ES" dirty="0"/>
              <a:t>modificar </a:t>
            </a:r>
            <a:r>
              <a:rPr lang="es-ES"/>
              <a:t>el títol 1</a:t>
            </a:r>
            <a:endParaRPr lang="es-ES" dirty="0"/>
          </a:p>
        </p:txBody>
      </p:sp>
      <p:sp>
        <p:nvSpPr>
          <p:cNvPr id="15" name="6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6314251" y="984157"/>
            <a:ext cx="5472000" cy="21431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Fes clic per </a:t>
            </a:r>
            <a:r>
              <a:rPr lang="es-ES" dirty="0"/>
              <a:t>modificar </a:t>
            </a:r>
            <a:r>
              <a:rPr lang="es-ES"/>
              <a:t>el títol 2</a:t>
            </a:r>
            <a:endParaRPr lang="es-ES" dirty="0"/>
          </a:p>
        </p:txBody>
      </p:sp>
      <p:sp>
        <p:nvSpPr>
          <p:cNvPr id="16" name="15 Rectángulo"/>
          <p:cNvSpPr/>
          <p:nvPr userDrawn="1"/>
        </p:nvSpPr>
        <p:spPr bwMode="auto">
          <a:xfrm>
            <a:off x="6016104" y="925016"/>
            <a:ext cx="209596" cy="556531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1200" u="sng" baseline="3000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9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71004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lantilla_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14934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ixaBank_1 bloc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38515" y="606070"/>
            <a:ext cx="8667736" cy="214314"/>
          </a:xfrm>
          <a:prstGeom prst="rect">
            <a:avLst/>
          </a:prstGeom>
        </p:spPr>
        <p:txBody>
          <a:bodyPr rIns="0"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92529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23693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/>
          <p:cNvSpPr/>
          <p:nvPr userDrawn="1"/>
        </p:nvSpPr>
        <p:spPr bwMode="auto">
          <a:xfrm>
            <a:off x="0" y="0"/>
            <a:ext cx="12192000" cy="651110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a-ES" sz="1200" u="sng" baseline="300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4310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72334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>
                <a:solidFill>
                  <a:srgbClr val="748D99"/>
                </a:solidFill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  <p:sp>
        <p:nvSpPr>
          <p:cNvPr id="6" name="5 Rectángulo"/>
          <p:cNvSpPr/>
          <p:nvPr userDrawn="1"/>
        </p:nvSpPr>
        <p:spPr bwMode="auto">
          <a:xfrm>
            <a:off x="0" y="1390650"/>
            <a:ext cx="12192000" cy="50942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a-ES" sz="1200" b="1" u="sng" dirty="0">
              <a:solidFill>
                <a:prstClr val="black"/>
              </a:solidFill>
            </a:endParaRPr>
          </a:p>
        </p:txBody>
      </p:sp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048000" y="663220"/>
            <a:ext cx="8667736" cy="214314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40445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72334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>
                <a:solidFill>
                  <a:srgbClr val="748D99"/>
                </a:solidFill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  <p:sp>
        <p:nvSpPr>
          <p:cNvPr id="6" name="5 Rectángulo"/>
          <p:cNvSpPr/>
          <p:nvPr userDrawn="1"/>
        </p:nvSpPr>
        <p:spPr bwMode="auto">
          <a:xfrm>
            <a:off x="0" y="1390650"/>
            <a:ext cx="12192000" cy="50942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a-ES" sz="1200" b="1" u="sng" dirty="0">
              <a:solidFill>
                <a:prstClr val="black"/>
              </a:solidFill>
            </a:endParaRPr>
          </a:p>
        </p:txBody>
      </p:sp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048000" y="663220"/>
            <a:ext cx="8667736" cy="214314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4983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ixa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36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2" name="1 Objeto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6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945496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ixaBank_1 bloc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38515" y="606070"/>
            <a:ext cx="8667736" cy="214314"/>
          </a:xfrm>
          <a:prstGeom prst="rect">
            <a:avLst/>
          </a:prstGeom>
        </p:spPr>
        <p:txBody>
          <a:bodyPr rIns="0"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47378" y="6515828"/>
            <a:ext cx="1302153" cy="16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b="0" u="none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B1724E-B443-447D-9974-909490F4A1F7}" type="datetime1">
              <a:rPr lang="es-ES_tradn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/11/2021</a:t>
            </a:fld>
            <a:endParaRPr lang="es-ES_tradnl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4736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23109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4250" y="924719"/>
            <a:ext cx="11592000" cy="341313"/>
          </a:xfrm>
        </p:spPr>
        <p:txBody>
          <a:bodyPr/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65652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 userDrawn="1"/>
        </p:nvSpPr>
        <p:spPr bwMode="auto">
          <a:xfrm>
            <a:off x="0" y="1210733"/>
            <a:ext cx="12192000" cy="52662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s-ES">
              <a:solidFill>
                <a:prstClr val="black"/>
              </a:solidFill>
              <a:latin typeface="Arial" pitchFamily="34" charset="0"/>
              <a:ea typeface="ＭＳ Ｐゴシック" pitchFamily="1" charset="-128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4250" y="924719"/>
            <a:ext cx="11592000" cy="341313"/>
          </a:xfrm>
        </p:spPr>
        <p:txBody>
          <a:bodyPr/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51774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328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5 Rectángulo"/>
          <p:cNvSpPr/>
          <p:nvPr userDrawn="1"/>
        </p:nvSpPr>
        <p:spPr bwMode="auto">
          <a:xfrm>
            <a:off x="0" y="925284"/>
            <a:ext cx="12192000" cy="552050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ca-ES" b="0" baseline="30000" dirty="0">
              <a:solidFill>
                <a:prstClr val="black"/>
              </a:solidFill>
              <a:latin typeface="Arial" pitchFamily="34" charset="0"/>
              <a:ea typeface="ＭＳ Ｐゴシック" pitchFamily="1" charset="-128"/>
              <a:cs typeface="Arial" charset="0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816704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  <a:endParaRPr lang="ca-ES" dirty="0"/>
          </a:p>
        </p:txBody>
      </p:sp>
      <p:sp>
        <p:nvSpPr>
          <p:cNvPr id="12" name="11 Marcador de texto"/>
          <p:cNvSpPr>
            <a:spLocks noGrp="1"/>
          </p:cNvSpPr>
          <p:nvPr>
            <p:ph type="body" sz="quarter" idx="13"/>
          </p:nvPr>
        </p:nvSpPr>
        <p:spPr>
          <a:xfrm>
            <a:off x="666751" y="1714501"/>
            <a:ext cx="10858500" cy="4500563"/>
          </a:xfrm>
        </p:spPr>
        <p:txBody>
          <a:bodyPr/>
          <a:lstStyle>
            <a:lvl1pPr>
              <a:defRPr sz="1300">
                <a:solidFill>
                  <a:srgbClr val="333333"/>
                </a:solidFill>
              </a:defRPr>
            </a:lvl1pPr>
            <a:lvl2pPr>
              <a:defRPr sz="1300">
                <a:solidFill>
                  <a:srgbClr val="333333"/>
                </a:solidFill>
              </a:defRPr>
            </a:lvl2pPr>
            <a:lvl3pPr>
              <a:defRPr sz="1300">
                <a:solidFill>
                  <a:srgbClr val="333333"/>
                </a:solidFill>
              </a:defRPr>
            </a:lvl3pPr>
            <a:lvl4pPr>
              <a:defRPr sz="1300">
                <a:solidFill>
                  <a:srgbClr val="333333"/>
                </a:solidFill>
              </a:defRPr>
            </a:lvl4pPr>
            <a:lvl5pPr>
              <a:defRPr sz="1300">
                <a:solidFill>
                  <a:srgbClr val="333333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86007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684EAC20-67E5-4D23-AABB-8FB58EFCF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1" name="Diapositiva de think-cell" r:id="rId5" imgW="347" imgH="348" progId="TCLayout.ActiveDocument.1">
                  <p:embed/>
                </p:oleObj>
              </mc:Choice>
              <mc:Fallback>
                <p:oleObj name="Diapositiva de think-cell" r:id="rId5" imgW="347" imgH="348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684EAC20-67E5-4D23-AABB-8FB58EFCF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A8E8D8DE-EBEF-4BC3-9F4B-7E07A482F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Marcador de título 1">
            <a:extLst>
              <a:ext uri="{FF2B5EF4-FFF2-40B4-BE49-F238E27FC236}">
                <a16:creationId xmlns:a16="http://schemas.microsoft.com/office/drawing/2014/main" id="{FD102512-2D1B-4833-AD46-63958FEF7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754" y="293048"/>
            <a:ext cx="9453382" cy="6668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lnSpc>
                <a:spcPts val="2600"/>
              </a:lnSpc>
              <a:defRPr sz="2600" b="0">
                <a:solidFill>
                  <a:srgbClr val="00B0F0"/>
                </a:solidFill>
                <a:latin typeface="Calibri" panose="020F0502020204030204" pitchFamily="34" charset="0"/>
              </a:defRPr>
            </a:lvl1pPr>
          </a:lstStyle>
          <a:p>
            <a:r>
              <a:rPr lang="es-ES" dirty="0"/>
              <a:t>Este es el título de la diapositiva que debe resumir las conclusiones que debe llevarse a casa el lector.</a:t>
            </a:r>
          </a:p>
        </p:txBody>
      </p:sp>
      <p:cxnSp>
        <p:nvCxnSpPr>
          <p:cNvPr id="10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3413424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709">
          <p15:clr>
            <a:srgbClr val="FBAE40"/>
          </p15:clr>
        </p15:guide>
        <p15:guide id="4" orient="horz" pos="777">
          <p15:clr>
            <a:srgbClr val="FBAE40"/>
          </p15:clr>
        </p15:guide>
        <p15:guide id="5" pos="189">
          <p15:clr>
            <a:srgbClr val="FBAE40"/>
          </p15:clr>
        </p15:guide>
        <p15:guide id="6" pos="7491">
          <p15:clr>
            <a:srgbClr val="FBAE40"/>
          </p15:clr>
        </p15:guide>
        <p15:guide id="7" pos="2593">
          <p15:clr>
            <a:srgbClr val="FBAE40"/>
          </p15:clr>
        </p15:guide>
        <p15:guide id="8" pos="5087">
          <p15:clr>
            <a:srgbClr val="FBAE40"/>
          </p15:clr>
        </p15:guide>
        <p15:guide id="9" pos="257">
          <p15:clr>
            <a:srgbClr val="FBAE40"/>
          </p15:clr>
        </p15:guide>
        <p15:guide id="10" pos="7423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ixaBank_2 blocs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 Título"/>
          <p:cNvSpPr txBox="1">
            <a:spLocks/>
          </p:cNvSpPr>
          <p:nvPr userDrawn="1"/>
        </p:nvSpPr>
        <p:spPr bwMode="auto">
          <a:xfrm>
            <a:off x="6225700" y="925016"/>
            <a:ext cx="5672841" cy="341313"/>
          </a:xfrm>
          <a:prstGeom prst="rect">
            <a:avLst/>
          </a:prstGeom>
          <a:solidFill>
            <a:srgbClr val="009AD8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>
              <a:defRPr sz="1600"/>
            </a:lvl1pPr>
          </a:lstStyle>
          <a:p>
            <a:pPr algn="ctr" eaLnBrk="0" hangingPunct="0">
              <a:defRPr/>
            </a:pPr>
            <a:endParaRPr lang="ca-ES" b="0" u="none" kern="0" baseline="30000" dirty="0">
              <a:solidFill>
                <a:prstClr val="white"/>
              </a:solidFill>
              <a:latin typeface="Calibri" pitchFamily="34" charset="0"/>
              <a:ea typeface="MS PGothic" pitchFamily="34" charset="-128"/>
              <a:cs typeface="Calibri" pitchFamily="34" charset="0"/>
            </a:endParaRPr>
          </a:p>
        </p:txBody>
      </p:sp>
      <p:sp>
        <p:nvSpPr>
          <p:cNvPr id="14" name="1 Título"/>
          <p:cNvSpPr txBox="1">
            <a:spLocks/>
          </p:cNvSpPr>
          <p:nvPr userDrawn="1"/>
        </p:nvSpPr>
        <p:spPr bwMode="auto">
          <a:xfrm>
            <a:off x="304800" y="925016"/>
            <a:ext cx="5712000" cy="341313"/>
          </a:xfrm>
          <a:prstGeom prst="rect">
            <a:avLst/>
          </a:prstGeom>
          <a:solidFill>
            <a:srgbClr val="009AD8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>
              <a:defRPr sz="1600"/>
            </a:lvl1pPr>
          </a:lstStyle>
          <a:p>
            <a:pPr algn="ctr" eaLnBrk="0" hangingPunct="0">
              <a:defRPr/>
            </a:pPr>
            <a:endParaRPr lang="ca-ES" b="0" u="none" kern="0" baseline="30000" dirty="0">
              <a:solidFill>
                <a:prstClr val="white"/>
              </a:solidFill>
              <a:latin typeface="Calibri" pitchFamily="34" charset="0"/>
              <a:ea typeface="MS PGothic" pitchFamily="34" charset="-128"/>
              <a:cs typeface="Calibri" pitchFamily="34" charset="0"/>
            </a:endParaRPr>
          </a:p>
        </p:txBody>
      </p:sp>
      <p:sp>
        <p:nvSpPr>
          <p:cNvPr id="13" name="6 Marcador de texto"/>
          <p:cNvSpPr>
            <a:spLocks noGrp="1"/>
          </p:cNvSpPr>
          <p:nvPr>
            <p:ph type="body" sz="quarter" idx="14" hasCustomPrompt="1"/>
          </p:nvPr>
        </p:nvSpPr>
        <p:spPr>
          <a:xfrm>
            <a:off x="424800" y="984157"/>
            <a:ext cx="5472000" cy="21431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Fes clic per </a:t>
            </a:r>
            <a:r>
              <a:rPr lang="es-ES" dirty="0"/>
              <a:t>modificar </a:t>
            </a:r>
            <a:r>
              <a:rPr lang="es-ES"/>
              <a:t>el títol 1</a:t>
            </a:r>
            <a:endParaRPr lang="es-ES" dirty="0"/>
          </a:p>
        </p:txBody>
      </p:sp>
      <p:sp>
        <p:nvSpPr>
          <p:cNvPr id="15" name="6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6314251" y="984157"/>
            <a:ext cx="5472000" cy="21431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Fes clic per </a:t>
            </a:r>
            <a:r>
              <a:rPr lang="es-ES" dirty="0"/>
              <a:t>modificar </a:t>
            </a:r>
            <a:r>
              <a:rPr lang="es-ES"/>
              <a:t>el títol 2</a:t>
            </a:r>
            <a:endParaRPr lang="es-ES" dirty="0"/>
          </a:p>
        </p:txBody>
      </p:sp>
      <p:sp>
        <p:nvSpPr>
          <p:cNvPr id="16" name="15 Rectángulo"/>
          <p:cNvSpPr/>
          <p:nvPr userDrawn="1"/>
        </p:nvSpPr>
        <p:spPr bwMode="auto">
          <a:xfrm>
            <a:off x="6016104" y="925016"/>
            <a:ext cx="209596" cy="556531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s-ES" b="0" baseline="30000">
              <a:solidFill>
                <a:prstClr val="black"/>
              </a:solidFill>
              <a:latin typeface="Arial" pitchFamily="34" charset="0"/>
              <a:ea typeface="ＭＳ Ｐゴシック" pitchFamily="1" charset="-128"/>
              <a:cs typeface="Arial" charset="0"/>
            </a:endParaRPr>
          </a:p>
        </p:txBody>
      </p:sp>
      <p:sp>
        <p:nvSpPr>
          <p:cNvPr id="19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754574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lantilla_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935152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ixaBank_1 bloc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304800" y="1295400"/>
            <a:ext cx="11606400" cy="5181600"/>
          </a:xfrm>
          <a:prstGeom prst="rect">
            <a:avLst/>
          </a:prstGeom>
          <a:solidFill>
            <a:srgbClr val="F2F4F6"/>
          </a:solidFill>
          <a:ln w="1270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ca-ES" b="0" u="none" baseline="30000">
              <a:solidFill>
                <a:prstClr val="black"/>
              </a:solidFill>
              <a:latin typeface="Arial" pitchFamily="-112" charset="-52"/>
              <a:ea typeface="ＭＳ Ｐゴシック" pitchFamily="1" charset="-128"/>
              <a:cs typeface="Arial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38515" y="606070"/>
            <a:ext cx="8667736" cy="214314"/>
          </a:xfrm>
          <a:prstGeom prst="rect">
            <a:avLst/>
          </a:prstGeom>
        </p:spPr>
        <p:txBody>
          <a:bodyPr rIns="0"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206768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/>
          <p:cNvSpPr/>
          <p:nvPr userDrawn="1"/>
        </p:nvSpPr>
        <p:spPr bwMode="auto">
          <a:xfrm>
            <a:off x="0" y="0"/>
            <a:ext cx="12192000" cy="651110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ca-ES" b="0" baseline="30000" dirty="0">
              <a:solidFill>
                <a:prstClr val="black"/>
              </a:solidFill>
              <a:latin typeface="Arial" pitchFamily="34" charset="0"/>
              <a:ea typeface="ＭＳ Ｐゴシック" pitchFamily="1" charset="-128"/>
              <a:cs typeface="Arial" charset="0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402038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72334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>
                <a:solidFill>
                  <a:srgbClr val="748D99"/>
                </a:solidFill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  <p:sp>
        <p:nvSpPr>
          <p:cNvPr id="6" name="5 Rectángulo"/>
          <p:cNvSpPr/>
          <p:nvPr userDrawn="1"/>
        </p:nvSpPr>
        <p:spPr bwMode="auto">
          <a:xfrm>
            <a:off x="0" y="1390650"/>
            <a:ext cx="12192000" cy="50942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ca-ES" sz="1200" u="sng" dirty="0">
              <a:solidFill>
                <a:prstClr val="black"/>
              </a:solidFill>
              <a:latin typeface="Arial" pitchFamily="34" charset="0"/>
              <a:ea typeface="ＭＳ Ｐゴシック" pitchFamily="1" charset="-128"/>
            </a:endParaRPr>
          </a:p>
        </p:txBody>
      </p:sp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048000" y="663220"/>
            <a:ext cx="8667736" cy="214314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3520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72334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>
                <a:solidFill>
                  <a:srgbClr val="748D99"/>
                </a:solidFill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  <p:sp>
        <p:nvSpPr>
          <p:cNvPr id="6" name="5 Rectángulo"/>
          <p:cNvSpPr/>
          <p:nvPr userDrawn="1"/>
        </p:nvSpPr>
        <p:spPr bwMode="auto">
          <a:xfrm>
            <a:off x="0" y="1390650"/>
            <a:ext cx="12192000" cy="50942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ca-ES" sz="1200" u="sng" dirty="0">
              <a:solidFill>
                <a:prstClr val="black"/>
              </a:solidFill>
              <a:latin typeface="Arial" pitchFamily="34" charset="0"/>
              <a:ea typeface="ＭＳ Ｐゴシック" pitchFamily="1" charset="-128"/>
            </a:endParaRPr>
          </a:p>
        </p:txBody>
      </p:sp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048000" y="663220"/>
            <a:ext cx="8667736" cy="214314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98338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 userDrawn="1"/>
        </p:nvSpPr>
        <p:spPr bwMode="auto">
          <a:xfrm>
            <a:off x="-1" y="1390650"/>
            <a:ext cx="12192001" cy="51435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defTabSz="742950" eaLnBrk="0" hangingPunct="0"/>
            <a:endParaRPr lang="es-ES" sz="975">
              <a:solidFill>
                <a:prstClr val="black"/>
              </a:solidFill>
              <a:latin typeface="Arial" pitchFamily="34" charset="0"/>
              <a:ea typeface="ＭＳ Ｐゴシック" pitchFamily="1" charset="-128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300"/>
            </a:lvl1pPr>
          </a:lstStyle>
          <a:p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048000" y="663220"/>
            <a:ext cx="8667737" cy="214314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463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143746" y="6515828"/>
            <a:ext cx="1253385" cy="16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650" b="0" u="none">
                <a:solidFill>
                  <a:srgbClr val="748D99"/>
                </a:solidFill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r>
              <a:rPr lang="es-ES"/>
              <a:t>03/11/2016</a:t>
            </a:r>
            <a:endParaRPr lang="es-ES_tradnl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72335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650" u="none">
                <a:solidFill>
                  <a:srgbClr val="748D99"/>
                </a:solidFill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73642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4251" y="924721"/>
            <a:ext cx="11592000" cy="341313"/>
          </a:xfrm>
        </p:spPr>
        <p:txBody>
          <a:bodyPr/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3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00327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 userDrawn="1"/>
        </p:nvSpPr>
        <p:spPr bwMode="auto">
          <a:xfrm>
            <a:off x="0" y="1210735"/>
            <a:ext cx="12192000" cy="52662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1200" b="1" u="sng">
              <a:solidFill>
                <a:prstClr val="black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4251" y="924721"/>
            <a:ext cx="11592000" cy="341313"/>
          </a:xfrm>
        </p:spPr>
        <p:txBody>
          <a:bodyPr/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3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835468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3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985418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53670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sz="2600" b="0">
                <a:solidFill>
                  <a:srgbClr val="2EB3EE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16754021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5 Rectángulo"/>
          <p:cNvSpPr/>
          <p:nvPr userDrawn="1"/>
        </p:nvSpPr>
        <p:spPr bwMode="auto">
          <a:xfrm>
            <a:off x="0" y="925284"/>
            <a:ext cx="12192000" cy="552050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a-ES" sz="1200" u="sng" baseline="300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3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098311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es-ES"/>
              <a:t>Haga clic para modificar el estilo de título del patrón</a:t>
            </a:r>
            <a:endParaRPr lang="ca-ES" dirty="0"/>
          </a:p>
        </p:txBody>
      </p:sp>
      <p:sp>
        <p:nvSpPr>
          <p:cNvPr id="12" name="11 Marcador de texto"/>
          <p:cNvSpPr>
            <a:spLocks noGrp="1"/>
          </p:cNvSpPr>
          <p:nvPr>
            <p:ph type="body" sz="quarter" idx="13"/>
          </p:nvPr>
        </p:nvSpPr>
        <p:spPr>
          <a:xfrm>
            <a:off x="666751" y="1714503"/>
            <a:ext cx="10858500" cy="4500563"/>
          </a:xfrm>
        </p:spPr>
        <p:txBody>
          <a:bodyPr/>
          <a:lstStyle>
            <a:lvl1pPr>
              <a:defRPr sz="1300">
                <a:solidFill>
                  <a:srgbClr val="333333"/>
                </a:solidFill>
              </a:defRPr>
            </a:lvl1pPr>
            <a:lvl2pPr>
              <a:defRPr sz="1300">
                <a:solidFill>
                  <a:srgbClr val="333333"/>
                </a:solidFill>
              </a:defRPr>
            </a:lvl2pPr>
            <a:lvl3pPr>
              <a:defRPr sz="1300">
                <a:solidFill>
                  <a:srgbClr val="333333"/>
                </a:solidFill>
              </a:defRPr>
            </a:lvl3pPr>
            <a:lvl4pPr>
              <a:defRPr sz="1300">
                <a:solidFill>
                  <a:srgbClr val="333333"/>
                </a:solidFill>
              </a:defRPr>
            </a:lvl4pPr>
            <a:lvl5pPr>
              <a:defRPr sz="1300">
                <a:solidFill>
                  <a:srgbClr val="333333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3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6937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ixaBank_2 blocs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 Título"/>
          <p:cNvSpPr txBox="1">
            <a:spLocks/>
          </p:cNvSpPr>
          <p:nvPr userDrawn="1"/>
        </p:nvSpPr>
        <p:spPr bwMode="auto">
          <a:xfrm>
            <a:off x="6225701" y="925018"/>
            <a:ext cx="5672841" cy="341313"/>
          </a:xfrm>
          <a:prstGeom prst="rect">
            <a:avLst/>
          </a:prstGeom>
          <a:solidFill>
            <a:srgbClr val="009AD8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>
              <a:defRPr sz="1600"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ca-ES" kern="0" baseline="30000" dirty="0">
              <a:solidFill>
                <a:prstClr val="white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1 Título"/>
          <p:cNvSpPr txBox="1">
            <a:spLocks/>
          </p:cNvSpPr>
          <p:nvPr userDrawn="1"/>
        </p:nvSpPr>
        <p:spPr bwMode="auto">
          <a:xfrm>
            <a:off x="304800" y="925018"/>
            <a:ext cx="5712000" cy="341313"/>
          </a:xfrm>
          <a:prstGeom prst="rect">
            <a:avLst/>
          </a:prstGeom>
          <a:solidFill>
            <a:srgbClr val="009AD8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>
              <a:defRPr sz="1600"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ca-ES" kern="0" baseline="30000" dirty="0">
              <a:solidFill>
                <a:prstClr val="white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6 Marcador de texto"/>
          <p:cNvSpPr>
            <a:spLocks noGrp="1"/>
          </p:cNvSpPr>
          <p:nvPr>
            <p:ph type="body" sz="quarter" idx="14" hasCustomPrompt="1"/>
          </p:nvPr>
        </p:nvSpPr>
        <p:spPr>
          <a:xfrm>
            <a:off x="424800" y="984157"/>
            <a:ext cx="5472000" cy="21431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Fes clic per </a:t>
            </a:r>
            <a:r>
              <a:rPr lang="es-ES" dirty="0"/>
              <a:t>modificar </a:t>
            </a:r>
            <a:r>
              <a:rPr lang="es-ES"/>
              <a:t>el títol 1</a:t>
            </a:r>
            <a:endParaRPr lang="es-ES" dirty="0"/>
          </a:p>
        </p:txBody>
      </p:sp>
      <p:sp>
        <p:nvSpPr>
          <p:cNvPr id="15" name="6 Marcador de texto"/>
          <p:cNvSpPr>
            <a:spLocks noGrp="1"/>
          </p:cNvSpPr>
          <p:nvPr>
            <p:ph type="body" sz="quarter" idx="15" hasCustomPrompt="1"/>
          </p:nvPr>
        </p:nvSpPr>
        <p:spPr>
          <a:xfrm>
            <a:off x="6314251" y="984157"/>
            <a:ext cx="5472000" cy="21431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Fes clic per </a:t>
            </a:r>
            <a:r>
              <a:rPr lang="es-ES" dirty="0"/>
              <a:t>modificar </a:t>
            </a:r>
            <a:r>
              <a:rPr lang="es-ES"/>
              <a:t>el títol 2</a:t>
            </a:r>
            <a:endParaRPr lang="es-ES" dirty="0"/>
          </a:p>
        </p:txBody>
      </p:sp>
      <p:sp>
        <p:nvSpPr>
          <p:cNvPr id="16" name="15 Rectángulo"/>
          <p:cNvSpPr/>
          <p:nvPr userDrawn="1"/>
        </p:nvSpPr>
        <p:spPr bwMode="auto">
          <a:xfrm>
            <a:off x="6016105" y="925016"/>
            <a:ext cx="209596" cy="556531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1200" u="sng" baseline="3000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9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09925" y="547772"/>
            <a:ext cx="8667736" cy="214314"/>
          </a:xfr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3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809035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lantilla_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3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655374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ixaBank_1 bloc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304800" y="1295400"/>
            <a:ext cx="11606400" cy="5181600"/>
          </a:xfrm>
          <a:prstGeom prst="rect">
            <a:avLst/>
          </a:prstGeom>
          <a:solidFill>
            <a:srgbClr val="F2F4F6"/>
          </a:solidFill>
          <a:ln w="1270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ca-ES" sz="1200" baseline="3000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38515" y="606070"/>
            <a:ext cx="8667736" cy="214314"/>
          </a:xfrm>
          <a:prstGeom prst="rect">
            <a:avLst/>
          </a:prstGeom>
        </p:spPr>
        <p:txBody>
          <a:bodyPr rIns="0"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3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38888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/>
          <p:cNvSpPr/>
          <p:nvPr userDrawn="1"/>
        </p:nvSpPr>
        <p:spPr bwMode="auto">
          <a:xfrm>
            <a:off x="0" y="0"/>
            <a:ext cx="12192000" cy="651110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a-ES" sz="1200" u="sng" baseline="300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3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20986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72336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>
                <a:solidFill>
                  <a:srgbClr val="748D99"/>
                </a:solidFill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  <p:sp>
        <p:nvSpPr>
          <p:cNvPr id="6" name="5 Rectángulo"/>
          <p:cNvSpPr/>
          <p:nvPr userDrawn="1"/>
        </p:nvSpPr>
        <p:spPr bwMode="auto">
          <a:xfrm>
            <a:off x="0" y="1390650"/>
            <a:ext cx="12192000" cy="50942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a-ES" sz="1200" b="1" u="sng" dirty="0">
              <a:solidFill>
                <a:prstClr val="black"/>
              </a:solidFill>
            </a:endParaRPr>
          </a:p>
        </p:txBody>
      </p:sp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048000" y="663220"/>
            <a:ext cx="8667736" cy="214314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9092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72336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>
                <a:solidFill>
                  <a:srgbClr val="748D99"/>
                </a:solidFill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  <p:sp>
        <p:nvSpPr>
          <p:cNvPr id="6" name="5 Rectángulo"/>
          <p:cNvSpPr/>
          <p:nvPr userDrawn="1"/>
        </p:nvSpPr>
        <p:spPr bwMode="auto">
          <a:xfrm>
            <a:off x="0" y="1390650"/>
            <a:ext cx="12192000" cy="50942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a-ES" sz="1200" b="1" u="sng" dirty="0">
              <a:solidFill>
                <a:prstClr val="black"/>
              </a:solidFill>
            </a:endParaRPr>
          </a:p>
        </p:txBody>
      </p:sp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048000" y="663220"/>
            <a:ext cx="8667736" cy="214314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137848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ixaBank_1 bloc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38515" y="606070"/>
            <a:ext cx="8667736" cy="214314"/>
          </a:xfrm>
          <a:prstGeom prst="rect">
            <a:avLst/>
          </a:prstGeom>
        </p:spPr>
        <p:txBody>
          <a:bodyPr rIns="0"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22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47378" y="6515828"/>
            <a:ext cx="1302153" cy="16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b="0" u="none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B1724E-B443-447D-9974-909490F4A1F7}" type="datetime1">
              <a:rPr lang="es-ES_tradn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/11/2021</a:t>
            </a:fld>
            <a:endParaRPr lang="es-ES_tradnl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4736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smtClean="0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97423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o / bullets +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Text Placeholder 7">
            <a:extLst>
              <a:ext uri="{FF2B5EF4-FFF2-40B4-BE49-F238E27FC236}">
                <a16:creationId xmlns:a16="http://schemas.microsoft.com/office/drawing/2014/main" id="{B4C8EF11-8C20-4817-8803-5ED79D2D90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7018" y="287844"/>
            <a:ext cx="11037483" cy="448281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>
                <a:solidFill>
                  <a:srgbClr val="4ABDF0"/>
                </a:solidFill>
              </a:defRPr>
            </a:lvl1pPr>
          </a:lstStyle>
          <a:p>
            <a:pPr lvl="0"/>
            <a:r>
              <a:rPr lang="en-US" dirty="0" err="1"/>
              <a:t>Ejemplo</a:t>
            </a:r>
            <a:r>
              <a:rPr lang="en-US" dirty="0"/>
              <a:t> de </a:t>
            </a:r>
            <a:r>
              <a:rPr lang="en-US" dirty="0" err="1"/>
              <a:t>diapositiva</a:t>
            </a:r>
            <a:r>
              <a:rPr lang="en-US" dirty="0"/>
              <a:t> con </a:t>
            </a:r>
            <a:r>
              <a:rPr lang="en-US" dirty="0" err="1"/>
              <a:t>texto</a:t>
            </a:r>
            <a:r>
              <a:rPr lang="en-US" dirty="0"/>
              <a:t> / bullets + imagen</a:t>
            </a:r>
          </a:p>
        </p:txBody>
      </p:sp>
      <p:sp>
        <p:nvSpPr>
          <p:cNvPr id="255" name="Text Placeholder 7">
            <a:extLst>
              <a:ext uri="{FF2B5EF4-FFF2-40B4-BE49-F238E27FC236}">
                <a16:creationId xmlns:a16="http://schemas.microsoft.com/office/drawing/2014/main" id="{01E3F3C4-C96B-47F4-825C-B82511733E1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6543" y="-955016"/>
            <a:ext cx="11037483" cy="2720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err="1"/>
              <a:t>Ejemplo</a:t>
            </a:r>
            <a:r>
              <a:rPr lang="en-US" dirty="0"/>
              <a:t> de </a:t>
            </a:r>
            <a:r>
              <a:rPr lang="en-US" dirty="0" err="1"/>
              <a:t>subtítulo</a:t>
            </a:r>
            <a:r>
              <a:rPr lang="en-US" dirty="0"/>
              <a:t> de </a:t>
            </a:r>
            <a:r>
              <a:rPr lang="en-US" dirty="0" err="1"/>
              <a:t>diapositiva</a:t>
            </a:r>
            <a:endParaRPr lang="en-US" dirty="0"/>
          </a:p>
        </p:txBody>
      </p:sp>
      <p:cxnSp>
        <p:nvCxnSpPr>
          <p:cNvPr id="15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11563"/>
            <a:ext cx="0" cy="600844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6218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53670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sz="2600" b="0">
                <a:solidFill>
                  <a:srgbClr val="4ABDF0"/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6070876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ixaBank_1 bloc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1149" y="962026"/>
            <a:ext cx="11606400" cy="34131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3238515" y="606070"/>
            <a:ext cx="8667736" cy="214314"/>
          </a:xfrm>
          <a:prstGeom prst="rect">
            <a:avLst/>
          </a:prstGeom>
        </p:spPr>
        <p:txBody>
          <a:bodyPr rIns="0" anchor="b" anchorCtr="0"/>
          <a:lstStyle>
            <a:lvl1pPr algn="r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247377" y="6515828"/>
            <a:ext cx="1302153" cy="16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b="0" u="none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_tradnl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24734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DA5297-3E08-4C9A-B238-7A781E48082A}" type="slidenum">
              <a:rPr lang="es-ES_tradnl" b="1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_tradnl" b="1" dirty="0"/>
          </a:p>
        </p:txBody>
      </p:sp>
    </p:spTree>
    <p:extLst>
      <p:ext uri="{BB962C8B-B14F-4D97-AF65-F5344CB8AC3E}">
        <p14:creationId xmlns:p14="http://schemas.microsoft.com/office/powerpoint/2010/main" val="38445269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Rectángulo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ca-ES" sz="1200" u="sng" baseline="30000" dirty="0">
              <a:solidFill>
                <a:prstClr val="black"/>
              </a:solidFill>
              <a:latin typeface="Arial" pitchFamily="34" charset="0"/>
              <a:ea typeface="ＭＳ Ｐゴシック" pitchFamily="1" charset="-128"/>
              <a:cs typeface="Arial" charset="0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DA5297-3E08-4C9A-B238-7A781E48082A}" type="slidenum">
              <a:rPr lang="es-ES_tradnl" b="1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_tradnl" b="1" dirty="0"/>
          </a:p>
        </p:txBody>
      </p:sp>
    </p:spTree>
    <p:extLst>
      <p:ext uri="{BB962C8B-B14F-4D97-AF65-F5344CB8AC3E}">
        <p14:creationId xmlns:p14="http://schemas.microsoft.com/office/powerpoint/2010/main" val="18987701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0" y="2130438"/>
            <a:ext cx="103632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46BAC0-FE2D-4488-A940-0F8D6815BD36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5641EE-59C2-4319-AAFE-32CC75896B6A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352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987C86-FEF2-4F3C-B3D2-5A34B8A1091C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B4A207-D2AD-4EEA-9C91-817ADFEE6FF1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494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084" y="440691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A5357A-6BA2-4AA8-9554-A193777C5145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15220F-B0DD-46E7-AFC9-FAF2C71991EB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03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4AD903-A5B8-4EBC-925E-D63ECFFAE6D1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200FB2-82C1-4D8F-84B9-C04C6687BA5D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02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6559D-0823-48C2-ABD8-7633191B0E50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08537-C1BD-4DD1-9638-F45DC7F82CBE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8151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C04630-79B3-4418-BCFE-C2E95A602F75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735117-9295-413E-A30F-4AC1DF535047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8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65CEBA-C441-4112-8BAD-B553A10FC3C1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771DF3-75C1-467D-A0A0-0537526ECC22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51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735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330EF-1D00-49AB-AC8A-73A9C24E1AB2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B7FC92-36A4-42B8-967C-64147AE777B8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7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Bank_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66740" y="453670"/>
            <a:ext cx="8667736" cy="214314"/>
          </a:xfrm>
          <a:prstGeom prst="rect">
            <a:avLst/>
          </a:prstGeom>
        </p:spPr>
        <p:txBody>
          <a:bodyPr rIns="0" anchor="ctr" anchorCtr="0"/>
          <a:lstStyle>
            <a:lvl1pPr algn="l">
              <a:lnSpc>
                <a:spcPct val="100000"/>
              </a:lnSpc>
              <a:spcAft>
                <a:spcPts val="0"/>
              </a:spcAft>
              <a:buNone/>
              <a:defRPr sz="2600" b="0">
                <a:solidFill>
                  <a:srgbClr val="2EB3EE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cxnSp>
        <p:nvCxnSpPr>
          <p:cNvPr id="6" name="Straight Connector 38">
            <a:extLst>
              <a:ext uri="{FF2B5EF4-FFF2-40B4-BE49-F238E27FC236}">
                <a16:creationId xmlns:a16="http://schemas.microsoft.com/office/drawing/2014/main" id="{9299180F-9A2B-4759-A161-29F2582C3C62}"/>
              </a:ext>
            </a:extLst>
          </p:cNvPr>
          <p:cNvCxnSpPr>
            <a:cxnSpLocks/>
          </p:cNvCxnSpPr>
          <p:nvPr userDrawn="1"/>
        </p:nvCxnSpPr>
        <p:spPr>
          <a:xfrm>
            <a:off x="372429" y="287763"/>
            <a:ext cx="0" cy="600844"/>
          </a:xfrm>
          <a:prstGeom prst="line">
            <a:avLst/>
          </a:prstGeom>
          <a:noFill/>
          <a:ln w="38100" cap="rnd" cmpd="sng" algn="ctr">
            <a:solidFill>
              <a:srgbClr val="4ABDF0"/>
            </a:solidFill>
            <a:prstDash val="solid"/>
            <a:round/>
          </a:ln>
          <a:effectLst/>
        </p:spPr>
      </p:cxnSp>
      <p:cxnSp>
        <p:nvCxnSpPr>
          <p:cNvPr id="8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</p:spTree>
    <p:extLst>
      <p:ext uri="{BB962C8B-B14F-4D97-AF65-F5344CB8AC3E}">
        <p14:creationId xmlns:p14="http://schemas.microsoft.com/office/powerpoint/2010/main" val="389592887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64F26E-28C5-4C33-950E-64D0E05F2279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FECF8E-8832-4C79-A3FE-CC83E8BDF1B1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43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E68AFE-C90D-403D-A025-DA5D9C7E91EA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5B55B7-A5A7-491C-A478-86DFA355FBBC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19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5F74B8-E8FF-4264-8DFC-7E88DBEC2ADF}" type="datetimeFigureOut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82BE58-5889-4A58-B3DA-7FF6FA18FD2D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652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Interior_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556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ol diapositiva + subtit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79"/>
          <p:cNvSpPr>
            <a:spLocks noChangeShapeType="1"/>
          </p:cNvSpPr>
          <p:nvPr userDrawn="1"/>
        </p:nvSpPr>
        <p:spPr bwMode="auto">
          <a:xfrm>
            <a:off x="6547339" y="2889250"/>
            <a:ext cx="0" cy="1206500"/>
          </a:xfrm>
          <a:prstGeom prst="line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 sz="800" u="none">
              <a:solidFill>
                <a:prstClr val="black"/>
              </a:solidFill>
            </a:endParaRPr>
          </a:p>
        </p:txBody>
      </p:sp>
      <p:sp>
        <p:nvSpPr>
          <p:cNvPr id="6" name="Marcador de texto 15"/>
          <p:cNvSpPr>
            <a:spLocks noGrp="1"/>
          </p:cNvSpPr>
          <p:nvPr>
            <p:ph type="body" sz="quarter" idx="14" hasCustomPrompt="1"/>
          </p:nvPr>
        </p:nvSpPr>
        <p:spPr>
          <a:xfrm>
            <a:off x="4595662" y="449225"/>
            <a:ext cx="7036541" cy="338554"/>
          </a:xfrm>
          <a:prstGeom prst="rect">
            <a:avLst/>
          </a:prstGeom>
        </p:spPr>
        <p:txBody>
          <a:bodyPr vert="horz" wrap="square" anchor="b" anchorCtr="0">
            <a:normAutofit/>
          </a:bodyPr>
          <a:lstStyle>
            <a:lvl1pPr algn="r">
              <a:spcBef>
                <a:spcPts val="0"/>
              </a:spcBef>
              <a:buNone/>
              <a:defRPr sz="1600" b="1" i="0">
                <a:solidFill>
                  <a:srgbClr val="009AD8"/>
                </a:solidFill>
              </a:defRPr>
            </a:lvl1pPr>
            <a:lvl2pPr>
              <a:buNone/>
              <a:defRPr sz="1400" b="1" i="1">
                <a:solidFill>
                  <a:srgbClr val="009AD8"/>
                </a:solidFill>
              </a:defRPr>
            </a:lvl2pPr>
            <a:lvl3pPr>
              <a:buNone/>
              <a:defRPr sz="1400" b="1" i="1">
                <a:solidFill>
                  <a:srgbClr val="009AD8"/>
                </a:solidFill>
              </a:defRPr>
            </a:lvl3pPr>
            <a:lvl4pPr>
              <a:buNone/>
              <a:defRPr sz="1400" b="1" i="1">
                <a:solidFill>
                  <a:srgbClr val="009AD8"/>
                </a:solidFill>
              </a:defRPr>
            </a:lvl4pPr>
            <a:lvl5pPr>
              <a:buNone/>
              <a:defRPr sz="1400" b="1" i="1">
                <a:solidFill>
                  <a:srgbClr val="009AD8"/>
                </a:solidFill>
              </a:defRPr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8" name="7 Marcador de texto"/>
          <p:cNvSpPr>
            <a:spLocks noGrp="1"/>
          </p:cNvSpPr>
          <p:nvPr>
            <p:ph type="body" sz="quarter" idx="15"/>
          </p:nvPr>
        </p:nvSpPr>
        <p:spPr>
          <a:xfrm>
            <a:off x="1267550" y="830945"/>
            <a:ext cx="10386099" cy="30777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r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9" name="Rectangle 2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313509" y="6318522"/>
            <a:ext cx="817659" cy="185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4918882-A83C-4037-A483-1A56F022110C}" type="datetime1">
              <a:rPr lang="es-ES_tradnl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4/11/2021</a:t>
            </a:fld>
            <a:endParaRPr lang="es-ES_tradnl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Line 45"/>
          <p:cNvSpPr>
            <a:spLocks noChangeShapeType="1"/>
          </p:cNvSpPr>
          <p:nvPr userDrawn="1"/>
        </p:nvSpPr>
        <p:spPr bwMode="auto">
          <a:xfrm>
            <a:off x="11156461" y="6313506"/>
            <a:ext cx="0" cy="236537"/>
          </a:xfrm>
          <a:prstGeom prst="line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s-ES_tradnl" sz="800" u="none">
              <a:solidFill>
                <a:prstClr val="black"/>
              </a:solidFill>
            </a:endParaRPr>
          </a:p>
        </p:txBody>
      </p:sp>
      <p:sp>
        <p:nvSpPr>
          <p:cNvPr id="11" name="Rectangle 52"/>
          <p:cNvSpPr>
            <a:spLocks noChangeArrowheads="1"/>
          </p:cNvSpPr>
          <p:nvPr userDrawn="1"/>
        </p:nvSpPr>
        <p:spPr bwMode="auto">
          <a:xfrm>
            <a:off x="11191642" y="6319165"/>
            <a:ext cx="347401" cy="207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3914" tIns="41958" rIns="83914" bIns="41958">
            <a:prstTxWarp prst="textNoShape">
              <a:avLst/>
            </a:prstTxWarp>
            <a:spAutoFit/>
          </a:bodyPr>
          <a:lstStyle/>
          <a:p>
            <a:pPr defTabSz="836613"/>
            <a:fld id="{C9EF4E77-D334-5942-B450-33C09431D7C9}" type="slidenum">
              <a:rPr lang="es-ES_tradnl" sz="800" b="0" u="none">
                <a:solidFill>
                  <a:prstClr val="black">
                    <a:lumMod val="50000"/>
                    <a:lumOff val="50000"/>
                  </a:prstClr>
                </a:solidFill>
              </a:rPr>
              <a:pPr defTabSz="836613"/>
              <a:t>‹Nº›</a:t>
            </a:fld>
            <a:endParaRPr lang="es-ES_tradnl" sz="800" b="0" u="none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33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00"/>
            </a:lvl1pPr>
          </a:lstStyle>
          <a:p>
            <a:endParaRPr lang="ca-ES" dirty="0"/>
          </a:p>
        </p:txBody>
      </p:sp>
      <p:sp>
        <p:nvSpPr>
          <p:cNvPr id="7" name="6 Marcador de texto"/>
          <p:cNvSpPr>
            <a:spLocks noGrp="1"/>
          </p:cNvSpPr>
          <p:nvPr>
            <p:ph type="body" sz="quarter" idx="12"/>
          </p:nvPr>
        </p:nvSpPr>
        <p:spPr>
          <a:xfrm>
            <a:off x="4095736" y="663220"/>
            <a:ext cx="7620000" cy="214314"/>
          </a:xfrm>
        </p:spPr>
        <p:txBody>
          <a:bodyPr anchor="b"/>
          <a:lstStyle>
            <a:lvl1pPr algn="r">
              <a:buNone/>
              <a:defRPr sz="1400" b="1">
                <a:solidFill>
                  <a:srgbClr val="748D99"/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2" name="11 Marcador de texto"/>
          <p:cNvSpPr>
            <a:spLocks noGrp="1"/>
          </p:cNvSpPr>
          <p:nvPr>
            <p:ph type="body" sz="quarter" idx="13"/>
          </p:nvPr>
        </p:nvSpPr>
        <p:spPr>
          <a:xfrm>
            <a:off x="666759" y="1714507"/>
            <a:ext cx="10858500" cy="4500563"/>
          </a:xfrm>
        </p:spPr>
        <p:txBody>
          <a:bodyPr/>
          <a:lstStyle>
            <a:lvl1pPr>
              <a:defRPr sz="1300">
                <a:solidFill>
                  <a:srgbClr val="333333"/>
                </a:solidFill>
              </a:defRPr>
            </a:lvl1pPr>
            <a:lvl2pPr>
              <a:defRPr sz="1300">
                <a:solidFill>
                  <a:srgbClr val="333333"/>
                </a:solidFill>
              </a:defRPr>
            </a:lvl2pPr>
            <a:lvl3pPr>
              <a:defRPr sz="1300">
                <a:solidFill>
                  <a:srgbClr val="333333"/>
                </a:solidFill>
              </a:defRPr>
            </a:lvl3pPr>
            <a:lvl4pPr>
              <a:defRPr sz="1300">
                <a:solidFill>
                  <a:srgbClr val="333333"/>
                </a:solidFill>
              </a:defRPr>
            </a:lvl4pPr>
            <a:lvl5pPr>
              <a:defRPr sz="1300">
                <a:solidFill>
                  <a:srgbClr val="333333"/>
                </a:solidFill>
              </a:defRPr>
            </a:lvl5pPr>
          </a:lstStyle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ca-E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10143075" y="6515100"/>
            <a:ext cx="1253067" cy="166688"/>
          </a:xfrm>
        </p:spPr>
        <p:txBody>
          <a:bodyPr/>
          <a:lstStyle>
            <a:lvl1pPr algn="r" eaLnBrk="0" hangingPunct="0">
              <a:defRPr sz="800" b="0" u="none">
                <a:solidFill>
                  <a:srgbClr val="748D99"/>
                </a:solidFill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563ACD6-1FDF-4C2C-9F1C-C1DBD2642608}" type="datetime1">
              <a:rPr lang="es-ES_tradnl"/>
              <a:pPr>
                <a:defRPr/>
              </a:pPr>
              <a:t>14/11/2021</a:t>
            </a:fld>
            <a:endParaRPr lang="es-ES_tradnl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 algn="r" eaLnBrk="0" hangingPunct="0">
              <a:defRPr sz="800" u="none">
                <a:solidFill>
                  <a:srgbClr val="748D99"/>
                </a:solidFill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DDC342B0-093A-42A3-9643-1B18490540CF}" type="slidenum">
              <a:rPr lang="es-ES_tradnl"/>
              <a:pPr>
                <a:defRPr/>
              </a:pPr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0184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 blanco con título sin fue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3 Título"/>
          <p:cNvSpPr>
            <a:spLocks noGrp="1"/>
          </p:cNvSpPr>
          <p:nvPr>
            <p:ph type="title"/>
          </p:nvPr>
        </p:nvSpPr>
        <p:spPr>
          <a:xfrm>
            <a:off x="609600" y="470647"/>
            <a:ext cx="10972800" cy="591672"/>
          </a:xfrm>
          <a:prstGeom prst="rect">
            <a:avLst/>
          </a:prstGeom>
        </p:spPr>
        <p:txBody>
          <a:bodyPr/>
          <a:lstStyle>
            <a:lvl1pPr algn="l">
              <a:defRPr sz="1477" b="1" i="1">
                <a:solidFill>
                  <a:srgbClr val="009AD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812988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2389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 w="12700">
            <a:noFill/>
            <a:round/>
            <a:headEnd/>
            <a:tailEnd/>
          </a:ln>
        </p:spPr>
        <p:txBody>
          <a:bodyPr rot="0" spcFirstLastPara="0" vert="horz" wrap="square" lIns="90983" tIns="45491" rIns="90983" bIns="45491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400" b="0" u="none" dirty="0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48223" y="942477"/>
            <a:ext cx="11100245" cy="541475"/>
          </a:xfrm>
        </p:spPr>
        <p:txBody>
          <a:bodyPr lIns="8099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548223" y="410831"/>
            <a:ext cx="11100245" cy="53164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3600"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407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00375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heme" Target="../theme/theme1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41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5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image" Target="../media/image5.jpeg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theme" Target="../theme/theme18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prstClr val="black"/>
              </a:solidFill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ysClr val="windowText" lastClr="0000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15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pPr algn="r"/>
              <a:t>‹Nº›</a:t>
            </a:fld>
            <a:endParaRPr lang="es-ES" sz="900">
              <a:solidFill>
                <a:prstClr val="black">
                  <a:lumMod val="65000"/>
                  <a:lumOff val="35000"/>
                </a:prstClr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3946349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654" r:id="rId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144">
          <p15:clr>
            <a:srgbClr val="F26B43"/>
          </p15:clr>
        </p15:guide>
        <p15:guide id="3" pos="5625">
          <p15:clr>
            <a:srgbClr val="F26B43"/>
          </p15:clr>
        </p15:guide>
        <p15:guide id="4" pos="288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prstClr val="black"/>
              </a:solidFill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ysClr val="windowText" lastClr="0000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15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pPr algn="r"/>
              <a:t>‹Nº›</a:t>
            </a:fld>
            <a:endParaRPr lang="es-ES" sz="900" dirty="0">
              <a:solidFill>
                <a:prstClr val="black">
                  <a:lumMod val="65000"/>
                  <a:lumOff val="35000"/>
                </a:prstClr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3269279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144">
          <p15:clr>
            <a:srgbClr val="F26B43"/>
          </p15:clr>
        </p15:guide>
        <p15:guide id="3" pos="5625">
          <p15:clr>
            <a:srgbClr val="F26B43"/>
          </p15:clr>
        </p15:guide>
        <p15:guide id="4" pos="288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chemeClr val="tx1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</p:grpSp>
      <p:sp>
        <p:nvSpPr>
          <p:cNvPr id="7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>
                <a:solidFill>
                  <a:prstClr val="black">
                    <a:lumMod val="65000"/>
                    <a:lumOff val="35000"/>
                  </a:prstClr>
                </a:solidFill>
                <a:ea typeface="ＭＳ Ｐゴシック" pitchFamily="34" charset="-128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ea typeface="ＭＳ Ｐゴシック" pitchFamily="34" charset="-128"/>
              </a:rPr>
              <a:pPr algn="r"/>
              <a:t>‹Nº›</a:t>
            </a:fld>
            <a:endParaRPr lang="es-ES" sz="900">
              <a:solidFill>
                <a:prstClr val="black">
                  <a:lumMod val="65000"/>
                  <a:lumOff val="35000"/>
                </a:prstClr>
              </a:solidFill>
              <a:ea typeface="ＭＳ Ｐゴシック" pitchFamily="34" charset="-128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ln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7111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7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06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prstClr val="black"/>
              </a:solidFill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ysClr val="windowText" lastClr="0000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15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pPr algn="r"/>
              <a:t>‹Nº›</a:t>
            </a:fld>
            <a:endParaRPr lang="es-ES" sz="900" dirty="0">
              <a:solidFill>
                <a:prstClr val="black">
                  <a:lumMod val="65000"/>
                  <a:lumOff val="35000"/>
                </a:prstClr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3610021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144">
          <p15:clr>
            <a:srgbClr val="F26B43"/>
          </p15:clr>
        </p15:guide>
        <p15:guide id="3" pos="5625">
          <p15:clr>
            <a:srgbClr val="F26B43"/>
          </p15:clr>
        </p15:guide>
        <p15:guide id="4" pos="288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/>
          <p:cNvPicPr>
            <a:picLocks noChangeArrowheads="1"/>
          </p:cNvPicPr>
          <p:nvPr userDrawn="1"/>
        </p:nvPicPr>
        <p:blipFill rotWithShape="1">
          <a:blip r:embed="rId4" cstate="print"/>
          <a:srcRect l="1427" t="5503" r="402" b="21239"/>
          <a:stretch/>
        </p:blipFill>
        <p:spPr bwMode="auto">
          <a:xfrm>
            <a:off x="484081" y="990600"/>
            <a:ext cx="11229369" cy="380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AutoShape 54"/>
          <p:cNvCxnSpPr>
            <a:cxnSpLocks noChangeShapeType="1"/>
          </p:cNvCxnSpPr>
          <p:nvPr userDrawn="1"/>
        </p:nvCxnSpPr>
        <p:spPr bwMode="auto">
          <a:xfrm rot="10800000">
            <a:off x="2456340" y="842765"/>
            <a:ext cx="9252000" cy="0"/>
          </a:xfrm>
          <a:prstGeom prst="bentConnector3">
            <a:avLst>
              <a:gd name="adj1" fmla="val 50000"/>
            </a:avLst>
          </a:prstGeom>
          <a:noFill/>
          <a:ln w="31750" cmpd="sng">
            <a:gradFill flip="none" rotWithShape="1">
              <a:gsLst>
                <a:gs pos="0">
                  <a:srgbClr val="009AD8"/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14" name="AutoShape 54"/>
          <p:cNvCxnSpPr>
            <a:cxnSpLocks noChangeShapeType="1"/>
          </p:cNvCxnSpPr>
          <p:nvPr userDrawn="1"/>
        </p:nvCxnSpPr>
        <p:spPr bwMode="auto">
          <a:xfrm rot="10800000" flipV="1">
            <a:off x="479046" y="842764"/>
            <a:ext cx="1908000" cy="1"/>
          </a:xfrm>
          <a:prstGeom prst="bentConnector3">
            <a:avLst>
              <a:gd name="adj1" fmla="val 50000"/>
            </a:avLst>
          </a:prstGeom>
          <a:noFill/>
          <a:ln w="31750" cmpd="sng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pic>
        <p:nvPicPr>
          <p:cNvPr id="15" name="Picture 3" descr="L:\9012\Enric_Otero\logos\CaixaBank\CaixaBank_logo_color_CMYK_horizontal_300dpi_fondo_blanco.jp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4852" t="16978" r="4971" b="17157"/>
          <a:stretch/>
        </p:blipFill>
        <p:spPr bwMode="auto">
          <a:xfrm>
            <a:off x="525194" y="360689"/>
            <a:ext cx="1805339" cy="393940"/>
          </a:xfrm>
          <a:prstGeom prst="rect">
            <a:avLst/>
          </a:prstGeom>
          <a:noFill/>
        </p:spPr>
      </p:pic>
      <p:sp>
        <p:nvSpPr>
          <p:cNvPr id="16" name="4 Marcador de texto"/>
          <p:cNvSpPr txBox="1">
            <a:spLocks/>
          </p:cNvSpPr>
          <p:nvPr userDrawn="1"/>
        </p:nvSpPr>
        <p:spPr bwMode="gray">
          <a:xfrm>
            <a:off x="485050" y="4868057"/>
            <a:ext cx="11228400" cy="640113"/>
          </a:xfrm>
          <a:prstGeom prst="rect">
            <a:avLst/>
          </a:prstGeom>
          <a:solidFill>
            <a:srgbClr val="748D99"/>
          </a:solidFill>
          <a:ln w="9525">
            <a:noFill/>
            <a:miter lim="800000"/>
            <a:headEnd/>
            <a:tailEnd/>
          </a:ln>
          <a:effectLst/>
        </p:spPr>
        <p:txBody>
          <a:bodyPr lIns="91407" tIns="45704" rIns="180000" bIns="45704" anchor="ctr"/>
          <a:lstStyle/>
          <a:p>
            <a:pPr marL="342900" indent="-342900" algn="r" fontAlgn="base">
              <a:spcBef>
                <a:spcPct val="0"/>
              </a:spcBef>
              <a:spcAft>
                <a:spcPct val="0"/>
              </a:spcAft>
            </a:pPr>
            <a:endParaRPr lang="en-GB" sz="2000" baseline="30000" dirty="0">
              <a:solidFill>
                <a:prstClr val="white"/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25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02">
          <p15:clr>
            <a:srgbClr val="F26B43"/>
          </p15:clr>
        </p15:guide>
        <p15:guide id="4" pos="7378">
          <p15:clr>
            <a:srgbClr val="F26B43"/>
          </p15:clr>
        </p15:guide>
        <p15:guide id="5" pos="1879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Diapositiva de think-cell" r:id="rId17" imgW="360" imgH="360" progId="TCLayout.ActiveDocument.1">
                  <p:embed/>
                </p:oleObj>
              </mc:Choice>
              <mc:Fallback>
                <p:oleObj name="Diapositiva de think-cell" r:id="rId17" imgW="360" imgH="360" progId="TCLayout.ActiveDocument.1">
                  <p:embed/>
                  <p:pic>
                    <p:nvPicPr>
                      <p:cNvPr id="2" name="Objeto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1149" y="925513"/>
            <a:ext cx="11592000" cy="341313"/>
          </a:xfrm>
          <a:prstGeom prst="rect">
            <a:avLst/>
          </a:prstGeom>
          <a:solidFill>
            <a:srgbClr val="009AD8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s-ES_tradnl" dirty="0"/>
              <a:t>Clic para editar título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1200" y="1676400"/>
            <a:ext cx="107696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DA5297-3E08-4C9A-B238-7A781E48082A}" type="slidenum">
              <a:rPr lang="es-ES_tradn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_tradnl" dirty="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 baseline="3000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20" name="AutoShape 54"/>
          <p:cNvCxnSpPr>
            <a:cxnSpLocks noChangeShapeType="1"/>
          </p:cNvCxnSpPr>
          <p:nvPr userDrawn="1"/>
        </p:nvCxnSpPr>
        <p:spPr bwMode="auto">
          <a:xfrm rot="10800000" flipV="1">
            <a:off x="1811963" y="822212"/>
            <a:ext cx="10080000" cy="1"/>
          </a:xfrm>
          <a:prstGeom prst="bentConnector3">
            <a:avLst>
              <a:gd name="adj1" fmla="val 50000"/>
            </a:avLst>
          </a:prstGeom>
          <a:noFill/>
          <a:ln w="28575" cmpd="sng">
            <a:gradFill flip="none" rotWithShape="1">
              <a:gsLst>
                <a:gs pos="0">
                  <a:srgbClr val="009AD8"/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cxnSp>
        <p:nvCxnSpPr>
          <p:cNvPr id="21" name="AutoShape 54"/>
          <p:cNvCxnSpPr>
            <a:cxnSpLocks noChangeShapeType="1"/>
          </p:cNvCxnSpPr>
          <p:nvPr userDrawn="1"/>
        </p:nvCxnSpPr>
        <p:spPr bwMode="auto">
          <a:xfrm rot="10800000" flipV="1">
            <a:off x="311149" y="822213"/>
            <a:ext cx="1440000" cy="1"/>
          </a:xfrm>
          <a:prstGeom prst="bentConnector3">
            <a:avLst>
              <a:gd name="adj1" fmla="val 50000"/>
            </a:avLst>
          </a:prstGeom>
          <a:noFill/>
          <a:ln w="28575" cmpd="sng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pic>
        <p:nvPicPr>
          <p:cNvPr id="22" name="Picture 3" descr="L:\9012\Enric_Otero\logos\CaixaBank\CaixaBank_logo_color_CMYK_horizontal_300dpi_fondo_blanco.jpg"/>
          <p:cNvPicPr>
            <a:picLocks noChangeAspect="1" noChangeArrowheads="1"/>
          </p:cNvPicPr>
          <p:nvPr userDrawn="1"/>
        </p:nvPicPr>
        <p:blipFill rotWithShape="1">
          <a:blip r:embed="rId19" cstate="print"/>
          <a:srcRect l="4852" t="16978" r="4971" b="17157"/>
          <a:stretch/>
        </p:blipFill>
        <p:spPr bwMode="auto">
          <a:xfrm>
            <a:off x="346105" y="459643"/>
            <a:ext cx="1353483" cy="2953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20573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89">
          <p15:clr>
            <a:srgbClr val="F26B43"/>
          </p15:clr>
        </p15:guide>
        <p15:guide id="3" pos="7494">
          <p15:clr>
            <a:srgbClr val="F26B43"/>
          </p15:clr>
        </p15:guide>
        <p15:guide id="4" pos="7486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300038" y="925513"/>
            <a:ext cx="11603111" cy="5494337"/>
          </a:xfrm>
          <a:prstGeom prst="rect">
            <a:avLst/>
          </a:prstGeom>
          <a:solidFill>
            <a:srgbClr val="F2F4F6"/>
          </a:solidFill>
          <a:ln w="1270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ca-ES" sz="800" b="0" u="none" baseline="30000">
              <a:solidFill>
                <a:prstClr val="black"/>
              </a:solidFill>
              <a:latin typeface="Arial" pitchFamily="-112" charset="-52"/>
              <a:ea typeface="ＭＳ Ｐゴシック" pitchFamily="1" charset="-128"/>
              <a:cs typeface="Arial" charset="0"/>
            </a:endParaRP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1149" y="925513"/>
            <a:ext cx="11592000" cy="341313"/>
          </a:xfrm>
          <a:prstGeom prst="rect">
            <a:avLst/>
          </a:prstGeom>
          <a:solidFill>
            <a:srgbClr val="009AD8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s-ES_tradnl" dirty="0"/>
              <a:t>Clic para editar título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1200" y="1676400"/>
            <a:ext cx="107696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1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>
              <a:defRPr/>
            </a:pPr>
            <a:fld id="{82DA5297-3E08-4C9A-B238-7A781E48082A}" type="slidenum">
              <a:rPr lang="es-ES_tradnl" b="0" smtClean="0"/>
              <a:pPr>
                <a:defRPr/>
              </a:pPr>
              <a:t>‹Nº›</a:t>
            </a:fld>
            <a:endParaRPr lang="es-ES_tradnl" b="0" dirty="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defRPr/>
            </a:pPr>
            <a:endParaRPr lang="es-ES" sz="2400" b="0" u="none" baseline="30000">
              <a:solidFill>
                <a:prstClr val="black"/>
              </a:solidFill>
              <a:latin typeface="Arial" pitchFamily="-112" charset="-52"/>
              <a:ea typeface="ＭＳ Ｐゴシック" pitchFamily="1" charset="-128"/>
              <a:cs typeface="Arial" charset="0"/>
            </a:endParaRPr>
          </a:p>
        </p:txBody>
      </p:sp>
      <p:cxnSp>
        <p:nvCxnSpPr>
          <p:cNvPr id="20" name="AutoShape 54"/>
          <p:cNvCxnSpPr>
            <a:cxnSpLocks noChangeShapeType="1"/>
          </p:cNvCxnSpPr>
          <p:nvPr userDrawn="1"/>
        </p:nvCxnSpPr>
        <p:spPr bwMode="auto">
          <a:xfrm rot="10800000" flipV="1">
            <a:off x="1811963" y="822212"/>
            <a:ext cx="10080000" cy="1"/>
          </a:xfrm>
          <a:prstGeom prst="bentConnector3">
            <a:avLst>
              <a:gd name="adj1" fmla="val 50000"/>
            </a:avLst>
          </a:prstGeom>
          <a:noFill/>
          <a:ln w="28575" cmpd="sng">
            <a:gradFill flip="none" rotWithShape="1">
              <a:gsLst>
                <a:gs pos="0">
                  <a:srgbClr val="009AD8"/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21" name="AutoShape 54"/>
          <p:cNvCxnSpPr>
            <a:cxnSpLocks noChangeShapeType="1"/>
          </p:cNvCxnSpPr>
          <p:nvPr userDrawn="1"/>
        </p:nvCxnSpPr>
        <p:spPr bwMode="auto">
          <a:xfrm rot="10800000" flipV="1">
            <a:off x="311149" y="822213"/>
            <a:ext cx="1440000" cy="1"/>
          </a:xfrm>
          <a:prstGeom prst="bentConnector3">
            <a:avLst>
              <a:gd name="adj1" fmla="val 50000"/>
            </a:avLst>
          </a:prstGeom>
          <a:noFill/>
          <a:ln w="28575" cmpd="sng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pic>
        <p:nvPicPr>
          <p:cNvPr id="22" name="Picture 3" descr="L:\9012\Enric_Otero\logos\CaixaBank\CaixaBank_logo_color_CMYK_horizontal_300dpi_fondo_blanco.jpg"/>
          <p:cNvPicPr>
            <a:picLocks noChangeAspect="1" noChangeArrowheads="1"/>
          </p:cNvPicPr>
          <p:nvPr userDrawn="1"/>
        </p:nvPicPr>
        <p:blipFill rotWithShape="1">
          <a:blip r:embed="rId14" cstate="print"/>
          <a:srcRect l="4852" t="16978" r="4971" b="17157"/>
          <a:stretch/>
        </p:blipFill>
        <p:spPr bwMode="auto">
          <a:xfrm>
            <a:off x="346105" y="459643"/>
            <a:ext cx="1353483" cy="2953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74774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89">
          <p15:clr>
            <a:srgbClr val="F26B43"/>
          </p15:clr>
        </p15:guide>
        <p15:guide id="3" pos="7494">
          <p15:clr>
            <a:srgbClr val="F26B43"/>
          </p15:clr>
        </p15:guide>
        <p15:guide id="4" pos="7486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1149" y="925515"/>
            <a:ext cx="11592000" cy="341313"/>
          </a:xfrm>
          <a:prstGeom prst="rect">
            <a:avLst/>
          </a:prstGeom>
          <a:solidFill>
            <a:srgbClr val="009AD8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s-ES_tradnl" dirty="0"/>
              <a:t>Clic para editar título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1200" y="1676400"/>
            <a:ext cx="107696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84593" y="6511102"/>
            <a:ext cx="28363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800" u="none" baseline="0">
                <a:solidFill>
                  <a:srgbClr val="748D99"/>
                </a:solidFill>
                <a:latin typeface="Calibri" pitchFamily="34" charset="0"/>
                <a:ea typeface="ＭＳ Ｐゴシック" pitchFamily="1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DA5297-3E08-4C9A-B238-7A781E48082A}" type="slidenum">
              <a:rPr lang="es-ES_tradn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_tradnl" dirty="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9" y="1597026"/>
            <a:ext cx="18473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 baseline="30000">
              <a:solidFill>
                <a:prstClr val="black"/>
              </a:solidFill>
              <a:cs typeface="Arial" charset="0"/>
            </a:endParaRPr>
          </a:p>
        </p:txBody>
      </p:sp>
      <p:cxnSp>
        <p:nvCxnSpPr>
          <p:cNvPr id="20" name="AutoShape 54"/>
          <p:cNvCxnSpPr>
            <a:cxnSpLocks noChangeShapeType="1"/>
          </p:cNvCxnSpPr>
          <p:nvPr userDrawn="1"/>
        </p:nvCxnSpPr>
        <p:spPr bwMode="auto">
          <a:xfrm rot="10800000" flipV="1">
            <a:off x="1811963" y="822214"/>
            <a:ext cx="10080000" cy="1"/>
          </a:xfrm>
          <a:prstGeom prst="bentConnector3">
            <a:avLst>
              <a:gd name="adj1" fmla="val 50000"/>
            </a:avLst>
          </a:prstGeom>
          <a:noFill/>
          <a:ln w="28575" cmpd="sng">
            <a:gradFill flip="none" rotWithShape="1">
              <a:gsLst>
                <a:gs pos="0">
                  <a:srgbClr val="009AD8"/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cxnSp>
        <p:nvCxnSpPr>
          <p:cNvPr id="21" name="AutoShape 54"/>
          <p:cNvCxnSpPr>
            <a:cxnSpLocks noChangeShapeType="1"/>
          </p:cNvCxnSpPr>
          <p:nvPr userDrawn="1"/>
        </p:nvCxnSpPr>
        <p:spPr bwMode="auto">
          <a:xfrm rot="10800000" flipV="1">
            <a:off x="311149" y="822215"/>
            <a:ext cx="1440000" cy="1"/>
          </a:xfrm>
          <a:prstGeom prst="bentConnector3">
            <a:avLst>
              <a:gd name="adj1" fmla="val 50000"/>
            </a:avLst>
          </a:prstGeom>
          <a:noFill/>
          <a:ln w="28575" cmpd="sng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pic>
        <p:nvPicPr>
          <p:cNvPr id="22" name="Picture 3" descr="L:\9012\Enric_Otero\logos\CaixaBank\CaixaBank_logo_color_CMYK_horizontal_300dpi_fondo_blanco.jpg"/>
          <p:cNvPicPr>
            <a:picLocks noChangeAspect="1" noChangeArrowheads="1"/>
          </p:cNvPicPr>
          <p:nvPr userDrawn="1"/>
        </p:nvPicPr>
        <p:blipFill rotWithShape="1">
          <a:blip r:embed="rId14" cstate="print"/>
          <a:srcRect l="4852" t="16978" r="4971" b="17157"/>
          <a:stretch/>
        </p:blipFill>
        <p:spPr bwMode="auto">
          <a:xfrm>
            <a:off x="346105" y="459645"/>
            <a:ext cx="1353483" cy="2953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37334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189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377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566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754" algn="ctr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898" indent="-88898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42" indent="-93660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35" indent="-87311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28" indent="-87311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371" indent="-93660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559" indent="-93660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748" indent="-93660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39937" indent="-93660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125" indent="-93660" algn="l" rtl="0" eaLnBrk="1" fontAlgn="base" hangingPunct="1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189">
          <p15:clr>
            <a:srgbClr val="F26B43"/>
          </p15:clr>
        </p15:guide>
        <p15:guide id="3" pos="7495">
          <p15:clr>
            <a:srgbClr val="F26B43"/>
          </p15:clr>
        </p15:guide>
        <p15:guide id="4" pos="7487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chemeClr val="tx1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</p:grpSp>
      <p:sp>
        <p:nvSpPr>
          <p:cNvPr id="7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 dirty="0">
                <a:solidFill>
                  <a:prstClr val="black">
                    <a:lumMod val="65000"/>
                    <a:lumOff val="35000"/>
                  </a:prstClr>
                </a:solidFill>
                <a:ea typeface="ＭＳ Ｐゴシック" pitchFamily="34" charset="-128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ea typeface="ＭＳ Ｐゴシック" pitchFamily="34" charset="-128"/>
              </a:rPr>
              <a:pPr algn="r"/>
              <a:t>‹Nº›</a:t>
            </a:fld>
            <a:endParaRPr lang="es-ES" sz="900" dirty="0">
              <a:solidFill>
                <a:prstClr val="black">
                  <a:lumMod val="65000"/>
                  <a:lumOff val="3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28945E1-0AA6-410D-8246-78A31A3545DC}"/>
              </a:ext>
            </a:extLst>
          </p:cNvPr>
          <p:cNvSpPr txBox="1">
            <a:spLocks/>
          </p:cNvSpPr>
          <p:nvPr userDrawn="1"/>
        </p:nvSpPr>
        <p:spPr>
          <a:xfrm>
            <a:off x="7166344" y="6243749"/>
            <a:ext cx="4659551" cy="28071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kumimoji="0" lang="en-US" sz="700" b="0" i="0" u="none" strike="noStrike" kern="1200" cap="none" spc="0" normalizeH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Segoe UI Semibold" panose="020B07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800">
                <a:solidFill>
                  <a:srgbClr val="5A5B5D"/>
                </a:solidFill>
                <a:cs typeface="Segoe UI Light" panose="020B0502040204020203" pitchFamily="34" charset="0"/>
              </a:rPr>
              <a:t>© CaixaBank, S.A. Barcelona, 2020. Documento confidencial de uso exclusivamente interno.</a:t>
            </a:r>
          </a:p>
          <a:p>
            <a:r>
              <a:rPr lang="es-ES" sz="800">
                <a:solidFill>
                  <a:srgbClr val="5A5B5D"/>
                </a:solidFill>
                <a:cs typeface="Segoe UI Light" panose="020B0502040204020203" pitchFamily="34" charset="0"/>
              </a:rPr>
              <a:t>Se prohíbe su reproducción y comunicación o acceso a terceros no autorizado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 userDrawn="1"/>
        </p:nvCxnSpPr>
        <p:spPr>
          <a:xfrm>
            <a:off x="372429" y="-15609"/>
            <a:ext cx="0" cy="6873609"/>
          </a:xfrm>
          <a:prstGeom prst="line">
            <a:avLst/>
          </a:prstGeom>
          <a:ln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5826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 pos="234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062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ítulo del patrón</a:t>
            </a:r>
          </a:p>
        </p:txBody>
      </p:sp>
      <p:sp>
        <p:nvSpPr>
          <p:cNvPr id="102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609600" y="1600205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6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1200">
                <a:solidFill>
                  <a:schemeClr val="tx1">
                    <a:tint val="75000"/>
                  </a:schemeClr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defRPr>
            </a:lvl1pPr>
          </a:lstStyle>
          <a:p>
            <a:pPr>
              <a:defRPr/>
            </a:pPr>
            <a:fld id="{7614A3C9-CA83-4637-9AAE-1B78F334D906}" type="datetimeFigureOut">
              <a:rPr lang="es-ES" u="none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/11/2021</a:t>
            </a:fld>
            <a:endParaRPr lang="es-ES" u="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6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0" hangingPunct="0">
              <a:defRPr sz="1200">
                <a:solidFill>
                  <a:schemeClr val="tx1">
                    <a:tint val="75000"/>
                  </a:schemeClr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defRPr>
            </a:lvl1pPr>
          </a:lstStyle>
          <a:p>
            <a:pPr>
              <a:defRPr/>
            </a:pPr>
            <a:endParaRPr lang="es-ES" u="non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00" y="635636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1200">
                <a:solidFill>
                  <a:schemeClr val="tx1">
                    <a:tint val="75000"/>
                  </a:schemeClr>
                </a:solidFill>
                <a:latin typeface="Arial" pitchFamily="-112" charset="-52"/>
                <a:ea typeface="ＭＳ Ｐゴシック" pitchFamily="-112" charset="-128"/>
                <a:cs typeface="ＭＳ Ｐゴシック" pitchFamily="-112" charset="-128"/>
              </a:defRPr>
            </a:lvl1pPr>
          </a:lstStyle>
          <a:p>
            <a:pPr>
              <a:defRPr/>
            </a:pPr>
            <a:fld id="{CDC3DFFC-A544-436E-A23A-4BC7EA3B9579}" type="slidenum">
              <a:rPr lang="es-ES" u="none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 u="non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056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prstClr val="black"/>
              </a:solidFill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ysClr val="windowText" lastClr="0000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15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pPr algn="r"/>
              <a:t>‹Nº›</a:t>
            </a:fld>
            <a:endParaRPr lang="es-ES" sz="900">
              <a:solidFill>
                <a:prstClr val="black">
                  <a:lumMod val="65000"/>
                  <a:lumOff val="35000"/>
                </a:prstClr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242585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725" r:id="rId3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144">
          <p15:clr>
            <a:srgbClr val="F26B43"/>
          </p15:clr>
        </p15:guide>
        <p15:guide id="3" pos="5625">
          <p15:clr>
            <a:srgbClr val="F26B43"/>
          </p15:clr>
        </p15:guide>
        <p15:guide id="4" pos="28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prstClr val="black"/>
              </a:solidFill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ysClr val="windowText" lastClr="0000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15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pPr algn="r"/>
              <a:t>‹Nº›</a:t>
            </a:fld>
            <a:endParaRPr lang="es-ES" sz="900">
              <a:solidFill>
                <a:prstClr val="black">
                  <a:lumMod val="65000"/>
                  <a:lumOff val="35000"/>
                </a:prstClr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05217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144">
          <p15:clr>
            <a:srgbClr val="F26B43"/>
          </p15:clr>
        </p15:guide>
        <p15:guide id="3" pos="5625">
          <p15:clr>
            <a:srgbClr val="F26B43"/>
          </p15:clr>
        </p15:guide>
        <p15:guide id="4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prstClr val="black"/>
              </a:solidFill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ysClr val="windowText" lastClr="0000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15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pPr algn="r"/>
              <a:t>‹Nº›</a:t>
            </a:fld>
            <a:endParaRPr lang="es-ES" sz="900" dirty="0">
              <a:solidFill>
                <a:prstClr val="black">
                  <a:lumMod val="65000"/>
                  <a:lumOff val="35000"/>
                </a:prstClr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3225543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144">
          <p15:clr>
            <a:srgbClr val="F26B43"/>
          </p15:clr>
        </p15:guide>
        <p15:guide id="3" pos="5625">
          <p15:clr>
            <a:srgbClr val="F26B43"/>
          </p15:clr>
        </p15:guide>
        <p15:guide id="4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prstClr val="black"/>
              </a:solidFill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ysClr val="windowText" lastClr="0000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15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pPr algn="r"/>
              <a:t>‹Nº›</a:t>
            </a:fld>
            <a:endParaRPr lang="es-ES" sz="900">
              <a:solidFill>
                <a:prstClr val="black">
                  <a:lumMod val="65000"/>
                  <a:lumOff val="35000"/>
                </a:prstClr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3332882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144">
          <p15:clr>
            <a:srgbClr val="F26B43"/>
          </p15:clr>
        </p15:guide>
        <p15:guide id="3" pos="5625">
          <p15:clr>
            <a:srgbClr val="F26B43"/>
          </p15:clr>
        </p15:guide>
        <p15:guide id="4" pos="28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prstClr val="black"/>
              </a:solidFill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ysClr val="windowText" lastClr="0000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15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pPr algn="r"/>
              <a:t>‹Nº›</a:t>
            </a:fld>
            <a:endParaRPr lang="es-ES" sz="900" dirty="0">
              <a:solidFill>
                <a:prstClr val="black">
                  <a:lumMod val="65000"/>
                  <a:lumOff val="35000"/>
                </a:prstClr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3605025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144">
          <p15:clr>
            <a:srgbClr val="F26B43"/>
          </p15:clr>
        </p15:guide>
        <p15:guide id="3" pos="5625">
          <p15:clr>
            <a:srgbClr val="F26B43"/>
          </p15:clr>
        </p15:guide>
        <p15:guide id="4" pos="28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prstClr val="black"/>
              </a:solidFill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ysClr val="windowText" lastClr="0000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15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pPr algn="r"/>
              <a:t>‹Nº›</a:t>
            </a:fld>
            <a:endParaRPr lang="es-ES" sz="900" dirty="0">
              <a:solidFill>
                <a:prstClr val="black">
                  <a:lumMod val="65000"/>
                  <a:lumOff val="35000"/>
                </a:prstClr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3859949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144">
          <p15:clr>
            <a:srgbClr val="F26B43"/>
          </p15:clr>
        </p15:guide>
        <p15:guide id="3" pos="5625">
          <p15:clr>
            <a:srgbClr val="F26B43"/>
          </p15:clr>
        </p15:guide>
        <p15:guide id="4" pos="288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12092518" y="1597025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prstClr val="black"/>
              </a:solidFill>
            </a:endParaRPr>
          </a:p>
        </p:txBody>
      </p:sp>
      <p:grpSp>
        <p:nvGrpSpPr>
          <p:cNvPr id="9" name="Graphic 5">
            <a:extLst>
              <a:ext uri="{FF2B5EF4-FFF2-40B4-BE49-F238E27FC236}">
                <a16:creationId xmlns:a16="http://schemas.microsoft.com/office/drawing/2014/main" id="{65B7A4D9-FF4B-4D9E-97DB-69428FC3448A}"/>
              </a:ext>
            </a:extLst>
          </p:cNvPr>
          <p:cNvGrpSpPr/>
          <p:nvPr userDrawn="1"/>
        </p:nvGrpSpPr>
        <p:grpSpPr>
          <a:xfrm>
            <a:off x="10671983" y="275927"/>
            <a:ext cx="1154028" cy="239384"/>
            <a:chOff x="12712205" y="7768505"/>
            <a:chExt cx="2099131" cy="435428"/>
          </a:xfrm>
        </p:grpSpPr>
        <p:sp>
          <p:nvSpPr>
            <p:cNvPr id="10" name="Freeform: Shape 2">
              <a:extLst>
                <a:ext uri="{FF2B5EF4-FFF2-40B4-BE49-F238E27FC236}">
                  <a16:creationId xmlns:a16="http://schemas.microsoft.com/office/drawing/2014/main" id="{66640461-849B-4936-81B7-4287DDCE96D1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1" name="Freeform: Shape 3">
              <a:extLst>
                <a:ext uri="{FF2B5EF4-FFF2-40B4-BE49-F238E27FC236}">
                  <a16:creationId xmlns:a16="http://schemas.microsoft.com/office/drawing/2014/main" id="{23B0E514-BD58-47DE-939B-5C629559272E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2" name="Freeform: Shape 4">
              <a:extLst>
                <a:ext uri="{FF2B5EF4-FFF2-40B4-BE49-F238E27FC236}">
                  <a16:creationId xmlns:a16="http://schemas.microsoft.com/office/drawing/2014/main" id="{95AA49F1-E45B-4F31-8C7B-5FD9EFABB88C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13" name="Freeform: Shape 5">
              <a:extLst>
                <a:ext uri="{FF2B5EF4-FFF2-40B4-BE49-F238E27FC236}">
                  <a16:creationId xmlns:a16="http://schemas.microsoft.com/office/drawing/2014/main" id="{21D9A4F9-456C-4221-B53D-DC85F148E077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ysClr val="windowText" lastClr="0000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15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6601396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 dirty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 Light"/>
              </a:rPr>
              <a:pPr algn="r"/>
              <a:t>‹Nº›</a:t>
            </a:fld>
            <a:endParaRPr lang="es-ES" sz="900" dirty="0">
              <a:solidFill>
                <a:prstClr val="black">
                  <a:lumMod val="65000"/>
                  <a:lumOff val="35000"/>
                </a:prstClr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3773465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Calibri" pitchFamily="34" charset="0"/>
          <a:ea typeface="+mj-ea"/>
          <a:cs typeface="Calibri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pitchFamily="34" charset="0"/>
          <a:ea typeface="ＭＳ Ｐゴシック" pitchFamily="1" charset="-128"/>
        </a:defRPr>
      </a:lvl9pPr>
    </p:titleStyle>
    <p:bodyStyle>
      <a:lvl1pPr marL="88900" indent="-88900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chemeClr val="hlink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1pPr>
      <a:lvl2pPr marL="36195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80959F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2pPr>
      <a:lvl3pPr marL="6286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3pPr>
      <a:lvl4pPr marL="895350" indent="-8731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4pPr>
      <a:lvl5pPr marL="1168400" indent="-93663" algn="l" rtl="0" eaLnBrk="0" fontAlgn="base" hangingPunct="0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Font typeface="Wingdings" pitchFamily="2" charset="2"/>
        <a:buChar char="§"/>
        <a:defRPr sz="1300">
          <a:solidFill>
            <a:srgbClr val="333333"/>
          </a:solidFill>
          <a:latin typeface="Calibri" pitchFamily="34" charset="0"/>
          <a:ea typeface="+mn-ea"/>
          <a:cs typeface="Calibri" pitchFamily="34" charset="0"/>
        </a:defRPr>
      </a:lvl5pPr>
      <a:lvl6pPr marL="16256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6pPr>
      <a:lvl7pPr marL="20828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7pPr>
      <a:lvl8pPr marL="25400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8pPr>
      <a:lvl9pPr marL="2997200" indent="-93663" algn="l" rtl="0" fontAlgn="base">
        <a:lnSpc>
          <a:spcPct val="90000"/>
        </a:lnSpc>
        <a:spcBef>
          <a:spcPct val="0"/>
        </a:spcBef>
        <a:spcAft>
          <a:spcPct val="25000"/>
        </a:spcAft>
        <a:buClr>
          <a:srgbClr val="9DAEB7"/>
        </a:buClr>
        <a:buChar char="."/>
        <a:defRPr sz="10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pos="144">
          <p15:clr>
            <a:srgbClr val="F26B43"/>
          </p15:clr>
        </p15:guide>
        <p15:guide id="3" pos="5625">
          <p15:clr>
            <a:srgbClr val="F26B43"/>
          </p15:clr>
        </p15:guide>
        <p15:guide id="4" pos="288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ie de página 1">
            <a:extLst>
              <a:ext uri="{FF2B5EF4-FFF2-40B4-BE49-F238E27FC236}">
                <a16:creationId xmlns:a16="http://schemas.microsoft.com/office/drawing/2014/main" id="{A794E8F4-D22A-455C-8329-96D03A5CDEB0}"/>
              </a:ext>
            </a:extLst>
          </p:cNvPr>
          <p:cNvSpPr txBox="1">
            <a:spLocks/>
          </p:cNvSpPr>
          <p:nvPr userDrawn="1"/>
        </p:nvSpPr>
        <p:spPr>
          <a:xfrm>
            <a:off x="11422056" y="7207451"/>
            <a:ext cx="407502" cy="17087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s-ES"/>
            </a:defPPr>
            <a:lvl1pPr>
              <a:lnSpc>
                <a:spcPct val="100000"/>
              </a:lnSpc>
              <a:defRPr sz="1300" spc="-30" baseline="0">
                <a:solidFill>
                  <a:schemeClr val="accent1"/>
                </a:solidFill>
                <a:latin typeface="+mj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ES" sz="900">
                <a:solidFill>
                  <a:prstClr val="black">
                    <a:lumMod val="65000"/>
                    <a:lumOff val="35000"/>
                  </a:prstClr>
                </a:solidFill>
                <a:ea typeface="ＭＳ Ｐゴシック" pitchFamily="34" charset="-128"/>
              </a:rPr>
              <a:t>p. </a:t>
            </a:r>
            <a:fld id="{C55AD5FC-D658-4668-AADB-0A3BDC5470A2}" type="slidenum">
              <a:rPr lang="es-ES" sz="900" smtClean="0">
                <a:solidFill>
                  <a:prstClr val="black">
                    <a:lumMod val="65000"/>
                    <a:lumOff val="35000"/>
                  </a:prstClr>
                </a:solidFill>
                <a:ea typeface="ＭＳ Ｐゴシック" pitchFamily="34" charset="-128"/>
              </a:rPr>
              <a:pPr algn="r"/>
              <a:t>‹Nº›</a:t>
            </a:fld>
            <a:endParaRPr lang="es-ES" sz="900">
              <a:solidFill>
                <a:prstClr val="black">
                  <a:lumMod val="65000"/>
                  <a:lumOff val="35000"/>
                </a:prstClr>
              </a:solidFill>
              <a:ea typeface="ＭＳ Ｐゴシック" pitchFamily="34" charset="-128"/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95" t="19905" r="22424" b="27226"/>
          <a:stretch/>
        </p:blipFill>
        <p:spPr>
          <a:xfrm>
            <a:off x="7088" y="0"/>
            <a:ext cx="12174279" cy="4101702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14D1AF0-13A0-4022-8928-4A0B8CEB098C}"/>
              </a:ext>
            </a:extLst>
          </p:cNvPr>
          <p:cNvSpPr txBox="1">
            <a:spLocks/>
          </p:cNvSpPr>
          <p:nvPr userDrawn="1"/>
        </p:nvSpPr>
        <p:spPr>
          <a:xfrm flipH="1">
            <a:off x="-3" y="0"/>
            <a:ext cx="12192001" cy="4110273"/>
          </a:xfrm>
          <a:prstGeom prst="rect">
            <a:avLst/>
          </a:prstGeom>
          <a:gradFill flip="none" rotWithShape="1">
            <a:gsLst>
              <a:gs pos="18000">
                <a:srgbClr val="009AD8">
                  <a:alpha val="8000"/>
                </a:srgbClr>
              </a:gs>
              <a:gs pos="87000">
                <a:srgbClr val="4ABDF0">
                  <a:alpha val="52000"/>
                </a:srgbClr>
              </a:gs>
              <a:gs pos="71000">
                <a:srgbClr val="4ABDF0">
                  <a:alpha val="47000"/>
                </a:srgbClr>
              </a:gs>
              <a:gs pos="100000">
                <a:srgbClr val="4ABDF0">
                  <a:alpha val="94000"/>
                </a:srgbClr>
              </a:gs>
            </a:gsLst>
            <a:lin ang="8100000" scaled="1"/>
            <a:tileRect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dirty="0">
                <a:solidFill>
                  <a:prstClr val="white">
                    <a:alpha val="0"/>
                  </a:prstClr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ctr">
              <a:defRPr/>
            </a:pPr>
            <a:r>
              <a:rPr lang="es-ES"/>
              <a:t>.</a:t>
            </a:r>
          </a:p>
        </p:txBody>
      </p:sp>
      <p:grpSp>
        <p:nvGrpSpPr>
          <p:cNvPr id="5" name="Graphic 5">
            <a:extLst>
              <a:ext uri="{FF2B5EF4-FFF2-40B4-BE49-F238E27FC236}">
                <a16:creationId xmlns:a16="http://schemas.microsoft.com/office/drawing/2014/main" id="{2A3B1AA9-949E-4214-9AFF-80E87A55A89C}"/>
              </a:ext>
            </a:extLst>
          </p:cNvPr>
          <p:cNvGrpSpPr/>
          <p:nvPr userDrawn="1"/>
        </p:nvGrpSpPr>
        <p:grpSpPr>
          <a:xfrm>
            <a:off x="643016" y="6173208"/>
            <a:ext cx="1602285" cy="332367"/>
            <a:chOff x="12712205" y="7768505"/>
            <a:chExt cx="2099131" cy="435428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B07A4E1D-F498-4733-823B-5ED66B553A0A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8" name="Freeform: Shape 9">
              <a:extLst>
                <a:ext uri="{FF2B5EF4-FFF2-40B4-BE49-F238E27FC236}">
                  <a16:creationId xmlns:a16="http://schemas.microsoft.com/office/drawing/2014/main" id="{D36F8F86-3426-44D4-B742-61D22BF5D152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9" name="Freeform: Shape 10">
              <a:extLst>
                <a:ext uri="{FF2B5EF4-FFF2-40B4-BE49-F238E27FC236}">
                  <a16:creationId xmlns:a16="http://schemas.microsoft.com/office/drawing/2014/main" id="{2E939577-0350-40FD-B48D-4BE948425D8E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10" name="Freeform: Shape 11">
              <a:extLst>
                <a:ext uri="{FF2B5EF4-FFF2-40B4-BE49-F238E27FC236}">
                  <a16:creationId xmlns:a16="http://schemas.microsoft.com/office/drawing/2014/main" id="{6768CC02-944F-4348-BB52-0F4D3FCE58D8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ysClr val="windowText" lastClr="0000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457151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</p:grpSp>
      <p:pic>
        <p:nvPicPr>
          <p:cNvPr id="13" name="Imagen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32" t="39893" r="14438" b="36630"/>
          <a:stretch/>
        </p:blipFill>
        <p:spPr>
          <a:xfrm>
            <a:off x="10206291" y="6329560"/>
            <a:ext cx="1722098" cy="208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32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82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3" orient="horz" pos="2727">
          <p15:clr>
            <a:srgbClr val="F26B43"/>
          </p15:clr>
        </p15:guide>
        <p15:guide id="4" orient="horz" pos="720">
          <p15:clr>
            <a:srgbClr val="F26B43"/>
          </p15:clr>
        </p15:guide>
        <p15:guide id="5" pos="234">
          <p15:clr>
            <a:srgbClr val="F26B43"/>
          </p15:clr>
        </p15:guide>
        <p15:guide id="6" pos="7446">
          <p15:clr>
            <a:srgbClr val="F26B43"/>
          </p15:clr>
        </p15:guide>
        <p15:guide id="7" orient="horz" pos="4062">
          <p15:clr>
            <a:srgbClr val="F26B43"/>
          </p15:clr>
        </p15:guide>
        <p15:guide id="8" pos="3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slide" Target="slide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hyperlink" Target="https://www.google.es/url?sa=i&amp;url=https://www.akamai.com/fr/fr/products/network-operator/dnsi-big-data-connector.jsp&amp;psig=AOvVaw3VTon6DIObyGPPlO6oTJXG&amp;ust=1581503387945000&amp;source=images&amp;cd=vfe&amp;ved=0CAIQjRxqFwoTCICChbOlyecCFQAAAAAdAAAAABBE" TargetMode="External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n 2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" t="55" r="4793"/>
          <a:stretch/>
        </p:blipFill>
        <p:spPr>
          <a:xfrm>
            <a:off x="0" y="0"/>
            <a:ext cx="11394558" cy="6858000"/>
          </a:xfrm>
          <a:prstGeom prst="rect">
            <a:avLst/>
          </a:prstGeom>
        </p:spPr>
      </p:pic>
      <p:sp>
        <p:nvSpPr>
          <p:cNvPr id="21" name="Rectángulo 20"/>
          <p:cNvSpPr/>
          <p:nvPr/>
        </p:nvSpPr>
        <p:spPr>
          <a:xfrm rot="10800000">
            <a:off x="5477933" y="0"/>
            <a:ext cx="6714067" cy="6858588"/>
          </a:xfrm>
          <a:prstGeom prst="rect">
            <a:avLst/>
          </a:prstGeom>
          <a:gradFill flip="none" rotWithShape="1">
            <a:gsLst>
              <a:gs pos="25000">
                <a:srgbClr val="3499C2">
                  <a:alpha val="80000"/>
                </a:srgbClr>
              </a:gs>
              <a:gs pos="100000">
                <a:sysClr val="window" lastClr="FFFFFF">
                  <a:alpha val="0"/>
                </a:sysClr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prstClr val="white"/>
              </a:solidFill>
              <a:latin typeface="Arial"/>
              <a:ea typeface="ＭＳ Ｐゴシック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14D1AF0-13A0-4022-8928-4A0B8CEB098C}"/>
              </a:ext>
            </a:extLst>
          </p:cNvPr>
          <p:cNvSpPr txBox="1">
            <a:spLocks/>
          </p:cNvSpPr>
          <p:nvPr/>
        </p:nvSpPr>
        <p:spPr>
          <a:xfrm flipH="1">
            <a:off x="0" y="0"/>
            <a:ext cx="12194194" cy="6868818"/>
          </a:xfrm>
          <a:prstGeom prst="rect">
            <a:avLst/>
          </a:prstGeom>
          <a:gradFill flip="none" rotWithShape="1">
            <a:gsLst>
              <a:gs pos="18000">
                <a:srgbClr val="009AD8">
                  <a:alpha val="8000"/>
                </a:srgbClr>
              </a:gs>
              <a:gs pos="87000">
                <a:srgbClr val="4ABDF0">
                  <a:alpha val="52000"/>
                </a:srgbClr>
              </a:gs>
              <a:gs pos="71000">
                <a:srgbClr val="4ABDF0">
                  <a:alpha val="47000"/>
                </a:srgbClr>
              </a:gs>
              <a:gs pos="100000">
                <a:srgbClr val="4ABDF0">
                  <a:alpha val="94000"/>
                </a:srgbClr>
              </a:gs>
            </a:gsLst>
            <a:lin ang="8100000" scaled="1"/>
            <a:tileRect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dirty="0">
                <a:solidFill>
                  <a:prstClr val="white">
                    <a:alpha val="0"/>
                  </a:prstClr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ctr">
              <a:defRPr/>
            </a:pPr>
            <a:r>
              <a:rPr lang="es-ES"/>
              <a:t>.</a:t>
            </a:r>
          </a:p>
        </p:txBody>
      </p:sp>
      <p:sp>
        <p:nvSpPr>
          <p:cNvPr id="23" name="Rectángulo 22"/>
          <p:cNvSpPr/>
          <p:nvPr/>
        </p:nvSpPr>
        <p:spPr>
          <a:xfrm>
            <a:off x="0" y="2526633"/>
            <a:ext cx="7547811" cy="4331367"/>
          </a:xfrm>
          <a:prstGeom prst="rect">
            <a:avLst/>
          </a:prstGeom>
          <a:gradFill flip="none" rotWithShape="1">
            <a:gsLst>
              <a:gs pos="15000">
                <a:srgbClr val="3499C2">
                  <a:alpha val="87000"/>
                </a:srgbClr>
              </a:gs>
              <a:gs pos="53000">
                <a:sysClr val="window" lastClr="FFFFFF">
                  <a:alpha val="0"/>
                </a:sysClr>
              </a:gs>
            </a:gsLst>
            <a:lin ang="162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s-ES" kern="0">
              <a:solidFill>
                <a:prstClr val="white"/>
              </a:solidFill>
              <a:latin typeface="Arial"/>
              <a:ea typeface="ＭＳ Ｐゴシック"/>
            </a:endParaRP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4627ECF-3BFB-4A14-8678-3B52FF948F66}"/>
              </a:ext>
            </a:extLst>
          </p:cNvPr>
          <p:cNvSpPr txBox="1">
            <a:spLocks/>
          </p:cNvSpPr>
          <p:nvPr/>
        </p:nvSpPr>
        <p:spPr>
          <a:xfrm>
            <a:off x="6741042" y="0"/>
            <a:ext cx="5018722" cy="68724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bg1">
                    <a:lumMod val="95000"/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>
                    <a:lumMod val="95000"/>
                    <a:alpha val="0"/>
                  </a:prstClr>
                </a:solidFill>
              </a:rPr>
              <a:t>.</a:t>
            </a:r>
            <a:endParaRPr lang="en-US" dirty="0">
              <a:solidFill>
                <a:prstClr val="white">
                  <a:lumMod val="95000"/>
                  <a:alpha val="0"/>
                </a:prstClr>
              </a:solidFill>
            </a:endParaRP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5B3B3D2D-5B95-4463-80B7-3D90802AD43E}"/>
              </a:ext>
            </a:extLst>
          </p:cNvPr>
          <p:cNvGrpSpPr/>
          <p:nvPr/>
        </p:nvGrpSpPr>
        <p:grpSpPr>
          <a:xfrm>
            <a:off x="7420712" y="6173208"/>
            <a:ext cx="1602285" cy="332367"/>
            <a:chOff x="12712205" y="7768505"/>
            <a:chExt cx="2099131" cy="435428"/>
          </a:xfrm>
        </p:grpSpPr>
        <p:sp>
          <p:nvSpPr>
            <p:cNvPr id="27" name="Freeform: Shape 11">
              <a:extLst>
                <a:ext uri="{FF2B5EF4-FFF2-40B4-BE49-F238E27FC236}">
                  <a16:creationId xmlns:a16="http://schemas.microsoft.com/office/drawing/2014/main" id="{FBF41FC5-C2C0-4B70-9443-0A8275D0B8E6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28" name="Freeform: Shape 12">
              <a:extLst>
                <a:ext uri="{FF2B5EF4-FFF2-40B4-BE49-F238E27FC236}">
                  <a16:creationId xmlns:a16="http://schemas.microsoft.com/office/drawing/2014/main" id="{E031972F-9668-44D4-9C15-F6F6D0DDFD05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30" name="Freeform: Shape 13">
              <a:extLst>
                <a:ext uri="{FF2B5EF4-FFF2-40B4-BE49-F238E27FC236}">
                  <a16:creationId xmlns:a16="http://schemas.microsoft.com/office/drawing/2014/main" id="{E0F9B5EE-E546-415E-8DEC-AFA705B16CE0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 dirty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31" name="Freeform: Shape 14">
              <a:extLst>
                <a:ext uri="{FF2B5EF4-FFF2-40B4-BE49-F238E27FC236}">
                  <a16:creationId xmlns:a16="http://schemas.microsoft.com/office/drawing/2014/main" id="{894C5CE3-9848-468E-8740-AE48EF1F0C5E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chemeClr val="tx1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457151" hangingPunct="0">
                <a:defRPr/>
              </a:pPr>
              <a:endParaRPr lang="es-ES" sz="1688" kern="0">
                <a:solidFill>
                  <a:srgbClr val="0A0A0A"/>
                </a:solidFill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</p:grpSp>
      <p:sp>
        <p:nvSpPr>
          <p:cNvPr id="41" name="CuadroTexto 40"/>
          <p:cNvSpPr txBox="1"/>
          <p:nvPr/>
        </p:nvSpPr>
        <p:spPr>
          <a:xfrm>
            <a:off x="7098864" y="1775366"/>
            <a:ext cx="4436411" cy="3488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3600"/>
              </a:lnSpc>
              <a:defRPr/>
            </a:pPr>
            <a:r>
              <a:rPr lang="es-ES" sz="2400" b="1" dirty="0">
                <a:solidFill>
                  <a:srgbClr val="4ABDF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ransición demográfica</a:t>
            </a:r>
            <a:r>
              <a:rPr lang="es-ES" sz="2400" dirty="0">
                <a:solidFill>
                  <a:srgbClr val="4ABDF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: envejecimiento poblacional y crecimiento económico</a:t>
            </a:r>
          </a:p>
          <a:p>
            <a:pPr lvl="0">
              <a:lnSpc>
                <a:spcPts val="3600"/>
              </a:lnSpc>
              <a:defRPr/>
            </a:pPr>
            <a:endParaRPr lang="es-ES" sz="2400" dirty="0">
              <a:solidFill>
                <a:srgbClr val="4ABDF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>
              <a:lnSpc>
                <a:spcPts val="2000"/>
              </a:lnSpc>
            </a:pPr>
            <a:r>
              <a:rPr lang="es-ES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pitchFamily="34" charset="-128"/>
              </a:rPr>
              <a:t>IV Congreso de Empleo</a:t>
            </a:r>
          </a:p>
          <a:p>
            <a:pPr>
              <a:lnSpc>
                <a:spcPts val="3600"/>
              </a:lnSpc>
            </a:pPr>
            <a:r>
              <a:rPr lang="es-ES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pitchFamily="34" charset="-128"/>
              </a:rPr>
              <a:t>Vitoria, 15 de noviembre de 2021</a:t>
            </a:r>
          </a:p>
          <a:p>
            <a:endParaRPr lang="es-ES" dirty="0">
              <a:solidFill>
                <a:schemeClr val="bg1">
                  <a:lumMod val="65000"/>
                </a:schemeClr>
              </a:solidFill>
              <a:latin typeface="+mj-lt"/>
              <a:ea typeface="ＭＳ Ｐゴシック" pitchFamily="34" charset="-128"/>
            </a:endParaRPr>
          </a:p>
          <a:p>
            <a:r>
              <a:rPr lang="es-ES" dirty="0">
                <a:solidFill>
                  <a:schemeClr val="bg1">
                    <a:lumMod val="65000"/>
                  </a:schemeClr>
                </a:solidFill>
                <a:latin typeface="Segoe UI Semibold" panose="020B0702040204020203" pitchFamily="34" charset="0"/>
                <a:ea typeface="ＭＳ Ｐゴシック" pitchFamily="34" charset="-128"/>
                <a:cs typeface="Segoe UI Semibold" panose="020B0702040204020203" pitchFamily="34" charset="0"/>
              </a:rPr>
              <a:t>Josep Mestres</a:t>
            </a:r>
          </a:p>
          <a:p>
            <a:r>
              <a:rPr lang="es-ES" dirty="0">
                <a:solidFill>
                  <a:schemeClr val="bg1">
                    <a:lumMod val="65000"/>
                  </a:schemeClr>
                </a:solidFill>
                <a:latin typeface="+mj-lt"/>
                <a:ea typeface="ＭＳ Ｐゴシック" pitchFamily="34" charset="-128"/>
              </a:rPr>
              <a:t>Economista, Caixabank Research</a:t>
            </a:r>
          </a:p>
        </p:txBody>
      </p:sp>
      <p:sp>
        <p:nvSpPr>
          <p:cNvPr id="42" name="Text Placeholder 208">
            <a:extLst>
              <a:ext uri="{FF2B5EF4-FFF2-40B4-BE49-F238E27FC236}">
                <a16:creationId xmlns:a16="http://schemas.microsoft.com/office/drawing/2014/main" id="{933CF14C-D970-4DEA-B2FF-2B082BC8F3C6}"/>
              </a:ext>
            </a:extLst>
          </p:cNvPr>
          <p:cNvSpPr txBox="1">
            <a:spLocks/>
          </p:cNvSpPr>
          <p:nvPr/>
        </p:nvSpPr>
        <p:spPr>
          <a:xfrm>
            <a:off x="7115709" y="-163800"/>
            <a:ext cx="0" cy="7185600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.</a:t>
            </a:r>
            <a:endParaRPr lang="en-US" dirty="0">
              <a:solidFill>
                <a:prstClr val="white">
                  <a:alpha val="0"/>
                </a:prstClr>
              </a:solidFill>
            </a:endParaRPr>
          </a:p>
        </p:txBody>
      </p:sp>
      <p:sp>
        <p:nvSpPr>
          <p:cNvPr id="43" name="Text Placeholder 208">
            <a:extLst>
              <a:ext uri="{FF2B5EF4-FFF2-40B4-BE49-F238E27FC236}">
                <a16:creationId xmlns:a16="http://schemas.microsoft.com/office/drawing/2014/main" id="{2DCE2F4C-9EDC-43CE-B22A-014C245D345D}"/>
              </a:ext>
            </a:extLst>
          </p:cNvPr>
          <p:cNvSpPr txBox="1">
            <a:spLocks/>
          </p:cNvSpPr>
          <p:nvPr/>
        </p:nvSpPr>
        <p:spPr>
          <a:xfrm>
            <a:off x="7115709" y="1896090"/>
            <a:ext cx="0" cy="3312000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prstClr val="white">
                    <a:alpha val="0"/>
                  </a:prstClr>
                </a:solidFill>
              </a:rPr>
              <a:t>.</a:t>
            </a:r>
            <a:endParaRPr lang="en-US" dirty="0">
              <a:solidFill>
                <a:prstClr val="white">
                  <a:alpha val="0"/>
                </a:prstClr>
              </a:solidFill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4B740E5E-7A79-4337-9B46-649546D6E2B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32" t="39893" r="14438" b="36630"/>
          <a:stretch/>
        </p:blipFill>
        <p:spPr>
          <a:xfrm>
            <a:off x="9495386" y="6238660"/>
            <a:ext cx="1911413" cy="23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8953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8BDB9F9-D537-4F39-B2A9-00D5DD6583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134" y="290629"/>
            <a:ext cx="7060565" cy="518108"/>
          </a:xfrm>
        </p:spPr>
        <p:txBody>
          <a:bodyPr/>
          <a:lstStyle/>
          <a:p>
            <a:pPr marL="0" indent="0"/>
            <a:endParaRPr lang="es-ES" sz="2400" dirty="0"/>
          </a:p>
        </p:txBody>
      </p:sp>
      <p:pic>
        <p:nvPicPr>
          <p:cNvPr id="9" name="Imagen 2">
            <a:extLst>
              <a:ext uri="{FF2B5EF4-FFF2-40B4-BE49-F238E27FC236}">
                <a16:creationId xmlns:a16="http://schemas.microsoft.com/office/drawing/2014/main" id="{6BC78CFC-D9EA-43DF-B03F-93CEAFE436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rgbClr val="009AD8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1743" r="9872"/>
          <a:stretch/>
        </p:blipFill>
        <p:spPr>
          <a:xfrm rot="16200000">
            <a:off x="-1933105" y="2962384"/>
            <a:ext cx="5201664" cy="1545294"/>
          </a:xfrm>
          <a:prstGeom prst="rect">
            <a:avLst/>
          </a:prstGeom>
        </p:spPr>
      </p:pic>
      <p:sp>
        <p:nvSpPr>
          <p:cNvPr id="10" name="2 Marcador de texto">
            <a:extLst>
              <a:ext uri="{FF2B5EF4-FFF2-40B4-BE49-F238E27FC236}">
                <a16:creationId xmlns:a16="http://schemas.microsoft.com/office/drawing/2014/main" id="{415DF4CB-0E32-4154-98D2-70F088C23726}"/>
              </a:ext>
            </a:extLst>
          </p:cNvPr>
          <p:cNvSpPr txBox="1">
            <a:spLocks/>
          </p:cNvSpPr>
          <p:nvPr/>
        </p:nvSpPr>
        <p:spPr bwMode="auto">
          <a:xfrm>
            <a:off x="2662842" y="1682176"/>
            <a:ext cx="8957658" cy="40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88900" indent="-88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chemeClr val="hlink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195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80959F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6286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8953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16840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6256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828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400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972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  <a:ea typeface="ＭＳ Ｐゴシック"/>
              </a:rPr>
              <a:t>Introducció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  <a:ea typeface="ＭＳ Ｐゴシック"/>
              </a:rPr>
              <a:t>Transición demográfica</a:t>
            </a:r>
            <a:endParaRPr kumimoji="0" lang="es-ES" sz="2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Envejecimiento y crecimiento económico</a:t>
            </a:r>
          </a:p>
          <a:p>
            <a:pPr marL="0" lvl="0" inden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None/>
              <a:defRPr/>
            </a:pP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Mecanismos para paliar </a:t>
            </a: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</a:rPr>
              <a:t>el impacto </a:t>
            </a: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económico del envejecimient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  <a:ea typeface="ＭＳ Ｐゴシック"/>
              </a:rPr>
              <a:t>Conclusiones</a:t>
            </a:r>
            <a:endParaRPr kumimoji="0" lang="es-ES" sz="2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</p:txBody>
      </p:sp>
      <p:grpSp>
        <p:nvGrpSpPr>
          <p:cNvPr id="11" name="Grupo 9">
            <a:extLst>
              <a:ext uri="{FF2B5EF4-FFF2-40B4-BE49-F238E27FC236}">
                <a16:creationId xmlns:a16="http://schemas.microsoft.com/office/drawing/2014/main" id="{497AA137-200F-4EFC-BB64-54992BBFAAFA}"/>
              </a:ext>
            </a:extLst>
          </p:cNvPr>
          <p:cNvGrpSpPr/>
          <p:nvPr/>
        </p:nvGrpSpPr>
        <p:grpSpPr>
          <a:xfrm>
            <a:off x="1791999" y="1534294"/>
            <a:ext cx="676275" cy="676275"/>
            <a:chOff x="3057525" y="2571750"/>
            <a:chExt cx="676275" cy="676275"/>
          </a:xfrm>
        </p:grpSpPr>
        <p:sp>
          <p:nvSpPr>
            <p:cNvPr id="14" name="Rectángulo 7">
              <a:extLst>
                <a:ext uri="{FF2B5EF4-FFF2-40B4-BE49-F238E27FC236}">
                  <a16:creationId xmlns:a16="http://schemas.microsoft.com/office/drawing/2014/main" id="{F132D1CD-2446-4BC0-A1D6-A4ADA61BB635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5" name="Rectángulo 11">
              <a:extLst>
                <a:ext uri="{FF2B5EF4-FFF2-40B4-BE49-F238E27FC236}">
                  <a16:creationId xmlns:a16="http://schemas.microsoft.com/office/drawing/2014/main" id="{2624A886-111E-437E-B713-8D2DFF5F97C2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a-ES" sz="2800" b="1" dirty="0">
                  <a:solidFill>
                    <a:srgbClr val="4BACC6">
                      <a:lumMod val="60000"/>
                      <a:lumOff val="40000"/>
                    </a:srgbClr>
                  </a:solidFill>
                  <a:latin typeface="Calibri" panose="020F0502020204030204" pitchFamily="34" charset="0"/>
                  <a:ea typeface="ＭＳ Ｐゴシック"/>
                </a:rPr>
                <a:t>1</a:t>
              </a:r>
              <a:endParaRPr lang="es-ES" sz="2800" b="1" dirty="0">
                <a:solidFill>
                  <a:srgbClr val="4BACC6">
                    <a:lumMod val="60000"/>
                    <a:lumOff val="40000"/>
                  </a:srgbClr>
                </a:solidFill>
                <a:latin typeface="Calibri" panose="020F0502020204030204" pitchFamily="34" charset="0"/>
                <a:ea typeface="ＭＳ Ｐゴシック"/>
              </a:endParaRPr>
            </a:p>
          </p:txBody>
        </p:sp>
      </p:grpSp>
      <p:grpSp>
        <p:nvGrpSpPr>
          <p:cNvPr id="16" name="Grupo 12">
            <a:extLst>
              <a:ext uri="{FF2B5EF4-FFF2-40B4-BE49-F238E27FC236}">
                <a16:creationId xmlns:a16="http://schemas.microsoft.com/office/drawing/2014/main" id="{B3B71B00-8BDA-4E79-A610-643A03514497}"/>
              </a:ext>
            </a:extLst>
          </p:cNvPr>
          <p:cNvGrpSpPr/>
          <p:nvPr/>
        </p:nvGrpSpPr>
        <p:grpSpPr>
          <a:xfrm>
            <a:off x="1791999" y="2442681"/>
            <a:ext cx="676275" cy="676275"/>
            <a:chOff x="3057525" y="2571750"/>
            <a:chExt cx="676275" cy="676275"/>
          </a:xfrm>
        </p:grpSpPr>
        <p:sp>
          <p:nvSpPr>
            <p:cNvPr id="17" name="Rectángulo 13">
              <a:extLst>
                <a:ext uri="{FF2B5EF4-FFF2-40B4-BE49-F238E27FC236}">
                  <a16:creationId xmlns:a16="http://schemas.microsoft.com/office/drawing/2014/main" id="{343EB4AA-D70A-4F6C-8EF4-9233A98B73D6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8" name="Rectángulo 14">
              <a:extLst>
                <a:ext uri="{FF2B5EF4-FFF2-40B4-BE49-F238E27FC236}">
                  <a16:creationId xmlns:a16="http://schemas.microsoft.com/office/drawing/2014/main" id="{081C4A98-AD52-4CA5-B2A8-FDBF0CBC12FF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2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9" name="Grupo 12">
            <a:extLst>
              <a:ext uri="{FF2B5EF4-FFF2-40B4-BE49-F238E27FC236}">
                <a16:creationId xmlns:a16="http://schemas.microsoft.com/office/drawing/2014/main" id="{25A34E27-5245-49D6-A0A5-3F3A9852CD85}"/>
              </a:ext>
            </a:extLst>
          </p:cNvPr>
          <p:cNvGrpSpPr/>
          <p:nvPr/>
        </p:nvGrpSpPr>
        <p:grpSpPr>
          <a:xfrm>
            <a:off x="1791999" y="3351068"/>
            <a:ext cx="676275" cy="676275"/>
            <a:chOff x="3057525" y="2571750"/>
            <a:chExt cx="676275" cy="676275"/>
          </a:xfrm>
        </p:grpSpPr>
        <p:sp>
          <p:nvSpPr>
            <p:cNvPr id="20" name="Rectángulo 13">
              <a:extLst>
                <a:ext uri="{FF2B5EF4-FFF2-40B4-BE49-F238E27FC236}">
                  <a16:creationId xmlns:a16="http://schemas.microsoft.com/office/drawing/2014/main" id="{197069CD-8E47-4722-A263-AA6FF0CCA27E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9028F608-93B9-4467-AF3F-1F3BCCB7FB48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a-ES" sz="2800" b="1" dirty="0">
                  <a:solidFill>
                    <a:prstClr val="black"/>
                  </a:solidFill>
                  <a:latin typeface="Calibri" panose="020F0502020204030204" pitchFamily="34" charset="0"/>
                  <a:ea typeface="ＭＳ Ｐゴシック"/>
                </a:rPr>
                <a:t>3</a:t>
              </a:r>
              <a:endParaRPr lang="es-ES" sz="2800" b="1" dirty="0">
                <a:solidFill>
                  <a:prstClr val="black"/>
                </a:solidFill>
                <a:latin typeface="Calibri" panose="020F0502020204030204" pitchFamily="34" charset="0"/>
                <a:ea typeface="ＭＳ Ｐゴシック"/>
              </a:endParaRPr>
            </a:p>
          </p:txBody>
        </p:sp>
      </p:grpSp>
      <p:grpSp>
        <p:nvGrpSpPr>
          <p:cNvPr id="22" name="Grupo 12">
            <a:extLst>
              <a:ext uri="{FF2B5EF4-FFF2-40B4-BE49-F238E27FC236}">
                <a16:creationId xmlns:a16="http://schemas.microsoft.com/office/drawing/2014/main" id="{7BC0A413-024A-462D-AC23-E20439E1F52C}"/>
              </a:ext>
            </a:extLst>
          </p:cNvPr>
          <p:cNvGrpSpPr/>
          <p:nvPr/>
        </p:nvGrpSpPr>
        <p:grpSpPr>
          <a:xfrm>
            <a:off x="1791999" y="4259455"/>
            <a:ext cx="676275" cy="676275"/>
            <a:chOff x="3057525" y="2571750"/>
            <a:chExt cx="676275" cy="676275"/>
          </a:xfrm>
        </p:grpSpPr>
        <p:sp>
          <p:nvSpPr>
            <p:cNvPr id="23" name="Rectángulo 13">
              <a:extLst>
                <a:ext uri="{FF2B5EF4-FFF2-40B4-BE49-F238E27FC236}">
                  <a16:creationId xmlns:a16="http://schemas.microsoft.com/office/drawing/2014/main" id="{4EC36241-8CBD-4816-8ED0-9D2524860CF6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" name="Rectángulo 14">
              <a:extLst>
                <a:ext uri="{FF2B5EF4-FFF2-40B4-BE49-F238E27FC236}">
                  <a16:creationId xmlns:a16="http://schemas.microsoft.com/office/drawing/2014/main" id="{BEC9CCCC-E77A-4F6B-BDB3-D356F28E1633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4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25" name="Grupo 12">
            <a:extLst>
              <a:ext uri="{FF2B5EF4-FFF2-40B4-BE49-F238E27FC236}">
                <a16:creationId xmlns:a16="http://schemas.microsoft.com/office/drawing/2014/main" id="{EEB98479-CF7B-4CD5-B8B0-F2C3003FAB85}"/>
              </a:ext>
            </a:extLst>
          </p:cNvPr>
          <p:cNvGrpSpPr/>
          <p:nvPr/>
        </p:nvGrpSpPr>
        <p:grpSpPr>
          <a:xfrm>
            <a:off x="1791999" y="5167842"/>
            <a:ext cx="676275" cy="676275"/>
            <a:chOff x="3057525" y="2571750"/>
            <a:chExt cx="676275" cy="676275"/>
          </a:xfrm>
        </p:grpSpPr>
        <p:sp>
          <p:nvSpPr>
            <p:cNvPr id="26" name="Rectángulo 13">
              <a:extLst>
                <a:ext uri="{FF2B5EF4-FFF2-40B4-BE49-F238E27FC236}">
                  <a16:creationId xmlns:a16="http://schemas.microsoft.com/office/drawing/2014/main" id="{B9D88301-BF2C-41E6-B099-AF91138DDC9C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" name="Rectángulo 14">
              <a:extLst>
                <a:ext uri="{FF2B5EF4-FFF2-40B4-BE49-F238E27FC236}">
                  <a16:creationId xmlns:a16="http://schemas.microsoft.com/office/drawing/2014/main" id="{DDDAB773-4B5C-4D3F-B446-E3D01253B541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5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95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9857B0C-18F9-4415-A043-FAB91E960D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Impacto del envejecimiento en el crecimiento económico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827F8AE8-4F97-44A2-AE10-8BB499E98336}"/>
              </a:ext>
            </a:extLst>
          </p:cNvPr>
          <p:cNvSpPr txBox="1"/>
          <p:nvPr/>
        </p:nvSpPr>
        <p:spPr>
          <a:xfrm>
            <a:off x="590549" y="1040447"/>
            <a:ext cx="528637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Reducción de la fuerza laboral </a:t>
            </a:r>
          </a:p>
          <a:p>
            <a:pPr marL="0" lvl="1"/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↓Tamaño</a:t>
            </a:r>
          </a:p>
          <a:p>
            <a:pPr marL="0" lvl="1"/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↓Propensión a trabajar de cohortes de mayor edad</a:t>
            </a:r>
          </a:p>
          <a:p>
            <a:pPr marL="0" lvl="1"/>
            <a:endParaRPr lang="es-ES" dirty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  <a:p>
            <a:pPr marL="0" lvl="1"/>
            <a:endParaRPr lang="es-ES" dirty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s-ES" b="0" u="none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</a:endParaRP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DA934576-CD6F-4740-9DE7-7F11643A055F}"/>
              </a:ext>
            </a:extLst>
          </p:cNvPr>
          <p:cNvGrpSpPr/>
          <p:nvPr/>
        </p:nvGrpSpPr>
        <p:grpSpPr>
          <a:xfrm>
            <a:off x="584200" y="2209589"/>
            <a:ext cx="9934576" cy="4456351"/>
            <a:chOff x="584200" y="2209589"/>
            <a:chExt cx="9934576" cy="4456351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4284B9AB-8234-4050-98E9-ECAC31AB00C4}"/>
                </a:ext>
              </a:extLst>
            </p:cNvPr>
            <p:cNvSpPr/>
            <p:nvPr/>
          </p:nvSpPr>
          <p:spPr>
            <a:xfrm>
              <a:off x="584200" y="6404330"/>
              <a:ext cx="9934576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1100" b="1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Fuente: </a:t>
              </a:r>
              <a:r>
                <a:rPr lang="es-ES" sz="1100" dirty="0" err="1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Anghel</a:t>
              </a:r>
              <a:r>
                <a:rPr lang="es-ES" sz="1100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, B., &amp; </a:t>
              </a:r>
              <a:r>
                <a:rPr lang="es-ES" sz="1100" dirty="0" err="1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Lacuesta</a:t>
              </a:r>
              <a:r>
                <a:rPr lang="es-ES" sz="1100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 Gabarain, A. (2020). Envejecimiento, productividad y situación laboral. Boletín económico, Banco de España.</a:t>
              </a:r>
            </a:p>
          </p:txBody>
        </p:sp>
        <p:graphicFrame>
          <p:nvGraphicFramePr>
            <p:cNvPr id="12" name="Gráfico 11">
              <a:extLst>
                <a:ext uri="{FF2B5EF4-FFF2-40B4-BE49-F238E27FC236}">
                  <a16:creationId xmlns:a16="http://schemas.microsoft.com/office/drawing/2014/main" id="{099577D2-97DE-412B-9B34-B9D8565D26C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060315493"/>
                </p:ext>
              </p:extLst>
            </p:nvPr>
          </p:nvGraphicFramePr>
          <p:xfrm>
            <a:off x="584200" y="2794773"/>
            <a:ext cx="8845550" cy="36385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AA716DA3-2F48-4E1B-810A-E1DA25C57D55}"/>
                </a:ext>
              </a:extLst>
            </p:cNvPr>
            <p:cNvSpPr txBox="1"/>
            <p:nvPr/>
          </p:nvSpPr>
          <p:spPr>
            <a:xfrm>
              <a:off x="650875" y="2209589"/>
              <a:ext cx="6352768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Tasa</a:t>
              </a:r>
              <a:r>
                <a:rPr kumimoji="0" lang="ca-E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 de </a:t>
              </a:r>
              <a:r>
                <a:rPr kumimoji="0" lang="ca-E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actividad</a:t>
              </a:r>
              <a:r>
                <a:rPr kumimoji="0" lang="ca-E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 por </a:t>
              </a:r>
              <a:r>
                <a:rPr kumimoji="0" lang="ca-E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nivel</a:t>
              </a:r>
              <a:r>
                <a:rPr kumimoji="0" lang="ca-E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 </a:t>
              </a:r>
              <a:r>
                <a:rPr kumimoji="0" lang="ca-E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educativo</a:t>
              </a:r>
              <a:endParaRPr kumimoji="0" lang="ca-E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a-ES" sz="1200" dirty="0">
                  <a:solidFill>
                    <a:prstClr val="black"/>
                  </a:solidFill>
                  <a:latin typeface="Calibri" pitchFamily="34" charset="0"/>
                  <a:ea typeface="ＭＳ Ｐゴシック" pitchFamily="34" charset="-128"/>
                </a:rPr>
                <a:t>(Grupo 30-34 </a:t>
              </a:r>
              <a:r>
                <a:rPr lang="ca-ES" sz="1200" dirty="0" err="1">
                  <a:solidFill>
                    <a:prstClr val="black"/>
                  </a:solidFill>
                  <a:latin typeface="Calibri" pitchFamily="34" charset="0"/>
                  <a:ea typeface="ＭＳ Ｐゴシック" pitchFamily="34" charset="-128"/>
                </a:rPr>
                <a:t>años</a:t>
              </a:r>
              <a:r>
                <a:rPr lang="ca-ES" sz="1200" dirty="0">
                  <a:solidFill>
                    <a:prstClr val="black"/>
                  </a:solidFill>
                  <a:latin typeface="Calibri" pitchFamily="34" charset="0"/>
                  <a:ea typeface="ＭＳ Ｐゴシック" pitchFamily="34" charset="-128"/>
                </a:rPr>
                <a:t> = 100)</a:t>
              </a:r>
              <a:endParaRPr kumimoji="0" lang="ca-ES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7510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9857B0C-18F9-4415-A043-FAB91E960D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Impacto del envejecimiento en el crecimiento económico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A890CFFD-6B1B-4A13-8316-F61D75C73774}"/>
              </a:ext>
            </a:extLst>
          </p:cNvPr>
          <p:cNvSpPr/>
          <p:nvPr/>
        </p:nvSpPr>
        <p:spPr>
          <a:xfrm>
            <a:off x="584199" y="962889"/>
            <a:ext cx="64194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Productividad </a:t>
            </a:r>
          </a:p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Distintas habilidades por generaciones </a:t>
            </a:r>
          </a:p>
          <a:p>
            <a:pPr marL="285750" lvl="1" indent="-285750">
              <a:buFont typeface="Wingdings" panose="05000000000000000000" pitchFamily="2" charset="2"/>
              <a:buChar char="Ø"/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Menor propensión a invertir y a adoptar cambios tecnológicos</a:t>
            </a:r>
          </a:p>
          <a:p>
            <a:pPr marL="0" lvl="1"/>
            <a:endParaRPr lang="es-ES" dirty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F67DEF02-008C-4927-807F-890A2AD830EB}"/>
              </a:ext>
            </a:extLst>
          </p:cNvPr>
          <p:cNvGrpSpPr/>
          <p:nvPr/>
        </p:nvGrpSpPr>
        <p:grpSpPr>
          <a:xfrm>
            <a:off x="584200" y="2095289"/>
            <a:ext cx="6419443" cy="4625628"/>
            <a:chOff x="584200" y="2095289"/>
            <a:chExt cx="6419443" cy="4625628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4284B9AB-8234-4050-98E9-ECAC31AB00C4}"/>
                </a:ext>
              </a:extLst>
            </p:cNvPr>
            <p:cNvSpPr/>
            <p:nvPr/>
          </p:nvSpPr>
          <p:spPr>
            <a:xfrm>
              <a:off x="584200" y="6290030"/>
              <a:ext cx="5292725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1100" b="1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Fuente: </a:t>
              </a:r>
              <a:r>
                <a:rPr lang="es-ES" sz="1100" dirty="0" err="1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Anghel</a:t>
              </a:r>
              <a:r>
                <a:rPr lang="es-ES" sz="1100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, B., &amp; </a:t>
              </a:r>
              <a:r>
                <a:rPr lang="es-ES" sz="1100" dirty="0" err="1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Lacuesta</a:t>
              </a:r>
              <a:r>
                <a:rPr lang="es-ES" sz="1100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 Gabarain, A. (2020). Envejecimiento, productividad y situación laboral. Boletín económico, Banco de España.</a:t>
              </a:r>
            </a:p>
          </p:txBody>
        </p:sp>
        <p:graphicFrame>
          <p:nvGraphicFramePr>
            <p:cNvPr id="12" name="Gráfico 11">
              <a:extLst>
                <a:ext uri="{FF2B5EF4-FFF2-40B4-BE49-F238E27FC236}">
                  <a16:creationId xmlns:a16="http://schemas.microsoft.com/office/drawing/2014/main" id="{099577D2-97DE-412B-9B34-B9D8565D26C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174467890"/>
                </p:ext>
              </p:extLst>
            </p:nvPr>
          </p:nvGraphicFramePr>
          <p:xfrm>
            <a:off x="584200" y="2680473"/>
            <a:ext cx="5511800" cy="36385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AA716DA3-2F48-4E1B-810A-E1DA25C57D55}"/>
                </a:ext>
              </a:extLst>
            </p:cNvPr>
            <p:cNvSpPr txBox="1"/>
            <p:nvPr/>
          </p:nvSpPr>
          <p:spPr>
            <a:xfrm>
              <a:off x="650875" y="2095289"/>
              <a:ext cx="6352768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Cambios</a:t>
              </a:r>
              <a:r>
                <a:rPr kumimoji="0" lang="ca-E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 en los </a:t>
              </a:r>
              <a:r>
                <a:rPr kumimoji="0" lang="ca-E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índices</a:t>
              </a:r>
              <a:r>
                <a:rPr kumimoji="0" lang="ca-E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 de uso de </a:t>
              </a:r>
              <a:r>
                <a:rPr kumimoji="0" lang="ca-E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habilidades</a:t>
              </a:r>
              <a:endParaRPr kumimoji="0" lang="ca-E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a-ES" sz="1200" dirty="0">
                  <a:solidFill>
                    <a:prstClr val="black"/>
                  </a:solidFill>
                  <a:latin typeface="Calibri" pitchFamily="34" charset="0"/>
                  <a:ea typeface="ＭＳ Ｐゴシック" pitchFamily="34" charset="-128"/>
                </a:rPr>
                <a:t>(Grupo de referencia = 30-34 </a:t>
              </a:r>
              <a:r>
                <a:rPr lang="ca-ES" sz="1200" dirty="0" err="1">
                  <a:solidFill>
                    <a:prstClr val="black"/>
                  </a:solidFill>
                  <a:latin typeface="Calibri" pitchFamily="34" charset="0"/>
                  <a:ea typeface="ＭＳ Ｐゴシック" pitchFamily="34" charset="-128"/>
                </a:rPr>
                <a:t>años</a:t>
              </a:r>
              <a:r>
                <a:rPr lang="ca-ES" sz="1200" dirty="0">
                  <a:solidFill>
                    <a:prstClr val="black"/>
                  </a:solidFill>
                  <a:latin typeface="Calibri" pitchFamily="34" charset="0"/>
                  <a:ea typeface="ＭＳ Ｐゴシック" pitchFamily="34" charset="-128"/>
                </a:rPr>
                <a:t>)</a:t>
              </a:r>
              <a:endParaRPr kumimoji="0" lang="ca-ES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endParaRPr>
            </a:p>
          </p:txBody>
        </p:sp>
      </p:grpSp>
      <p:grpSp>
        <p:nvGrpSpPr>
          <p:cNvPr id="7" name="Grupo 6">
            <a:extLst>
              <a:ext uri="{FF2B5EF4-FFF2-40B4-BE49-F238E27FC236}">
                <a16:creationId xmlns:a16="http://schemas.microsoft.com/office/drawing/2014/main" id="{0E12B3B3-8FCA-4E07-AFC7-F8A3C63B44DC}"/>
              </a:ext>
            </a:extLst>
          </p:cNvPr>
          <p:cNvGrpSpPr/>
          <p:nvPr/>
        </p:nvGrpSpPr>
        <p:grpSpPr>
          <a:xfrm>
            <a:off x="6737618" y="2112873"/>
            <a:ext cx="6375261" cy="4506233"/>
            <a:chOff x="6737618" y="2112873"/>
            <a:chExt cx="6375261" cy="4506233"/>
          </a:xfrm>
        </p:grpSpPr>
        <p:sp>
          <p:nvSpPr>
            <p:cNvPr id="3" name="Rectángulo 2">
              <a:extLst>
                <a:ext uri="{FF2B5EF4-FFF2-40B4-BE49-F238E27FC236}">
                  <a16:creationId xmlns:a16="http://schemas.microsoft.com/office/drawing/2014/main" id="{C4F350B0-2781-47B9-A53B-F0259C11E735}"/>
                </a:ext>
              </a:extLst>
            </p:cNvPr>
            <p:cNvSpPr/>
            <p:nvPr/>
          </p:nvSpPr>
          <p:spPr>
            <a:xfrm>
              <a:off x="6813818" y="6018942"/>
              <a:ext cx="4468646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1100" b="1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Nota </a:t>
              </a:r>
              <a:r>
                <a:rPr lang="es-ES" sz="1100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(*): El volumen total incluye la suma de compras pagadas con tarjetas, retiradas de efectivo en cajeros y pagos realizados con bizum.</a:t>
              </a:r>
            </a:p>
            <a:p>
              <a:r>
                <a:rPr lang="es-ES" sz="1100" b="1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Fuente: </a:t>
              </a:r>
              <a:r>
                <a:rPr lang="es-ES" sz="1100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CaixaBank Research (Informe Mensual Mayo 2021).</a:t>
              </a:r>
              <a:endParaRPr lang="es-ES" sz="1100" dirty="0"/>
            </a:p>
          </p:txBody>
        </p:sp>
        <p:graphicFrame>
          <p:nvGraphicFramePr>
            <p:cNvPr id="9" name="Gráfico 8">
              <a:extLst>
                <a:ext uri="{FF2B5EF4-FFF2-40B4-BE49-F238E27FC236}">
                  <a16:creationId xmlns:a16="http://schemas.microsoft.com/office/drawing/2014/main" id="{00000000-0008-0000-0200-00000300000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4693959"/>
                </p:ext>
              </p:extLst>
            </p:nvPr>
          </p:nvGraphicFramePr>
          <p:xfrm>
            <a:off x="6737618" y="2680473"/>
            <a:ext cx="4943475" cy="33658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CuadroTexto 9">
              <a:extLst>
                <a:ext uri="{FF2B5EF4-FFF2-40B4-BE49-F238E27FC236}">
                  <a16:creationId xmlns:a16="http://schemas.microsoft.com/office/drawing/2014/main" id="{EE77EB05-EFC8-4E75-9735-F04C0D27CC4E}"/>
                </a:ext>
              </a:extLst>
            </p:cNvPr>
            <p:cNvSpPr txBox="1"/>
            <p:nvPr/>
          </p:nvSpPr>
          <p:spPr>
            <a:xfrm>
              <a:off x="6760111" y="2112873"/>
              <a:ext cx="6352768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400" b="1" dirty="0">
                  <a:solidFill>
                    <a:prstClr val="black"/>
                  </a:solidFill>
                  <a:latin typeface="Calibri" pitchFamily="34" charset="0"/>
                  <a:ea typeface="ＭＳ Ｐゴシック" pitchFamily="34" charset="-128"/>
                </a:rPr>
                <a:t>Uso de bizum por generación*</a:t>
              </a:r>
            </a:p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200" dirty="0">
                  <a:solidFill>
                    <a:prstClr val="black"/>
                  </a:solidFill>
                  <a:latin typeface="Calibri" pitchFamily="34" charset="0"/>
                  <a:ea typeface="ＭＳ Ｐゴシック" pitchFamily="34" charset="-128"/>
                </a:rPr>
                <a:t>(% del gasto total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9199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9857B0C-18F9-4415-A043-FAB91E960D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Impacto del envejecimiento en el crecimiento económico</a:t>
            </a: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FBE774C1-77E7-4561-8555-AF1DD30BEB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36017"/>
              </p:ext>
            </p:extLst>
          </p:nvPr>
        </p:nvGraphicFramePr>
        <p:xfrm>
          <a:off x="600074" y="1583278"/>
          <a:ext cx="10315576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0019D322-B616-42E4-82DB-EB52C8C37D0F}"/>
              </a:ext>
            </a:extLst>
          </p:cNvPr>
          <p:cNvSpPr txBox="1"/>
          <p:nvPr/>
        </p:nvSpPr>
        <p:spPr>
          <a:xfrm>
            <a:off x="600073" y="5825022"/>
            <a:ext cx="103155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10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Nota: </a:t>
            </a:r>
            <a:r>
              <a:rPr lang="es-ES" sz="11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Durante las décadas 2020-2029, 2030-2039 y 2040-2049, está previsto que el envejecimiento lastre el crecimiento anual del PIB per cápita en 0,7 p. p., 0,6 p. p. y 0,1 p. p., respectivamente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B5921E2F-D942-4DB8-94D0-ED21EC179E2F}"/>
              </a:ext>
            </a:extLst>
          </p:cNvPr>
          <p:cNvSpPr txBox="1"/>
          <p:nvPr/>
        </p:nvSpPr>
        <p:spPr>
          <a:xfrm>
            <a:off x="708025" y="1090835"/>
            <a:ext cx="635276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Crecimiento</a:t>
            </a:r>
            <a:r>
              <a:rPr kumimoji="0" lang="ca-E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del PIB per </a:t>
            </a:r>
            <a:r>
              <a:rPr kumimoji="0" lang="ca-E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cápita</a:t>
            </a:r>
            <a:r>
              <a:rPr kumimoji="0" lang="ca-E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e impacto del </a:t>
            </a:r>
            <a:r>
              <a:rPr kumimoji="0" lang="ca-E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envejecimiento</a:t>
            </a:r>
            <a:endParaRPr kumimoji="0" lang="ca-E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ca-ES" sz="12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(%)</a:t>
            </a:r>
            <a:endParaRPr kumimoji="0" lang="ca-ES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33DE1C9-5986-4058-9DD8-471C0B2109BE}"/>
              </a:ext>
            </a:extLst>
          </p:cNvPr>
          <p:cNvSpPr txBox="1"/>
          <p:nvPr/>
        </p:nvSpPr>
        <p:spPr>
          <a:xfrm>
            <a:off x="600073" y="6192764"/>
            <a:ext cx="1031557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05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Fuente: </a:t>
            </a:r>
            <a:r>
              <a:rPr lang="es-ES" sz="105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Llorens Jimeno, E. y Mestres Domènech, J (2020), “El impacto del envejecimiento en el crecimiento económico de España: un enfoque regional”, Documento trabajo 01/20, CaixaBank Research.</a:t>
            </a:r>
          </a:p>
        </p:txBody>
      </p:sp>
      <p:sp>
        <p:nvSpPr>
          <p:cNvPr id="3" name="CuadroTexto 2">
            <a:hlinkClick r:id="rId4" action="ppaction://hlinksldjump"/>
            <a:extLst>
              <a:ext uri="{FF2B5EF4-FFF2-40B4-BE49-F238E27FC236}">
                <a16:creationId xmlns:a16="http://schemas.microsoft.com/office/drawing/2014/main" id="{BDFE33D3-2D47-44A0-8F75-68403F17E285}"/>
              </a:ext>
            </a:extLst>
          </p:cNvPr>
          <p:cNvSpPr txBox="1"/>
          <p:nvPr/>
        </p:nvSpPr>
        <p:spPr>
          <a:xfrm>
            <a:off x="10098085" y="1075446"/>
            <a:ext cx="16351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0" u="none" dirty="0">
                <a:solidFill>
                  <a:srgbClr val="008FD6"/>
                </a:solidFill>
                <a:latin typeface="Calibri" pitchFamily="34" charset="0"/>
              </a:rPr>
              <a:t>Estrategia empírica</a:t>
            </a:r>
          </a:p>
        </p:txBody>
      </p:sp>
    </p:spTree>
    <p:extLst>
      <p:ext uri="{BB962C8B-B14F-4D97-AF65-F5344CB8AC3E}">
        <p14:creationId xmlns:p14="http://schemas.microsoft.com/office/powerpoint/2010/main" val="26292753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9857B0C-18F9-4415-A043-FAB91E960D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6739" y="453670"/>
            <a:ext cx="8972535" cy="346154"/>
          </a:xfrm>
        </p:spPr>
        <p:txBody>
          <a:bodyPr/>
          <a:lstStyle/>
          <a:p>
            <a:r>
              <a:rPr lang="es-ES" dirty="0"/>
              <a:t>Descomposición del impacto vía fuerza laboral y vía productividad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0019D322-B616-42E4-82DB-EB52C8C37D0F}"/>
              </a:ext>
            </a:extLst>
          </p:cNvPr>
          <p:cNvSpPr txBox="1"/>
          <p:nvPr/>
        </p:nvSpPr>
        <p:spPr>
          <a:xfrm>
            <a:off x="546098" y="5786662"/>
            <a:ext cx="561657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05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Nota: </a:t>
            </a:r>
            <a:r>
              <a:rPr lang="es-ES" sz="105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Cada columna representa la elasticidad del ratio de envejecimiento respecto a esa variable. La suma de las elasticidades de la fuerza laboral y la productividad laboral corresponden al impacto en el PIB per cápita. N corresponde a la población y L a la fuerza laboral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B5921E2F-D942-4DB8-94D0-ED21EC179E2F}"/>
              </a:ext>
            </a:extLst>
          </p:cNvPr>
          <p:cNvSpPr txBox="1"/>
          <p:nvPr/>
        </p:nvSpPr>
        <p:spPr>
          <a:xfrm>
            <a:off x="784225" y="1460277"/>
            <a:ext cx="635276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Impacto </a:t>
            </a:r>
            <a:r>
              <a:rPr kumimoji="0" lang="ca-E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agregado</a:t>
            </a:r>
            <a:r>
              <a:rPr kumimoji="0" lang="ca-E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del </a:t>
            </a:r>
            <a:r>
              <a:rPr kumimoji="0" lang="ca-E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envejecimiento</a:t>
            </a:r>
            <a:endParaRPr kumimoji="0" lang="ca-E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ca-ES" sz="12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(%)</a:t>
            </a:r>
            <a:endParaRPr kumimoji="0" lang="ca-ES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90D966B2-EA74-4C96-889B-5A6679CEC6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0294799"/>
              </p:ext>
            </p:extLst>
          </p:nvPr>
        </p:nvGraphicFramePr>
        <p:xfrm>
          <a:off x="546099" y="2069691"/>
          <a:ext cx="504000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4" name="Grupo 3">
            <a:extLst>
              <a:ext uri="{FF2B5EF4-FFF2-40B4-BE49-F238E27FC236}">
                <a16:creationId xmlns:a16="http://schemas.microsoft.com/office/drawing/2014/main" id="{FF62AD0C-C67F-4C93-BE7F-353215457C49}"/>
              </a:ext>
            </a:extLst>
          </p:cNvPr>
          <p:cNvGrpSpPr/>
          <p:nvPr/>
        </p:nvGrpSpPr>
        <p:grpSpPr>
          <a:xfrm>
            <a:off x="6496049" y="1463228"/>
            <a:ext cx="6352768" cy="5062098"/>
            <a:chOff x="6496049" y="1463228"/>
            <a:chExt cx="6352768" cy="5062098"/>
          </a:xfrm>
        </p:grpSpPr>
        <p:graphicFrame>
          <p:nvGraphicFramePr>
            <p:cNvPr id="12" name="Gráfico 11">
              <a:extLst>
                <a:ext uri="{FF2B5EF4-FFF2-40B4-BE49-F238E27FC236}">
                  <a16:creationId xmlns:a16="http://schemas.microsoft.com/office/drawing/2014/main" id="{17FF8CDC-CDA8-4622-9097-9CA4A226D92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20634461"/>
                </p:ext>
              </p:extLst>
            </p:nvPr>
          </p:nvGraphicFramePr>
          <p:xfrm>
            <a:off x="6496049" y="1952719"/>
            <a:ext cx="5267325" cy="38309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5B60875E-892E-4B25-8691-6B5D67F76296}"/>
                </a:ext>
              </a:extLst>
            </p:cNvPr>
            <p:cNvSpPr txBox="1"/>
            <p:nvPr/>
          </p:nvSpPr>
          <p:spPr>
            <a:xfrm>
              <a:off x="6496049" y="1463228"/>
              <a:ext cx="6352768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Impacto por </a:t>
              </a:r>
              <a:r>
                <a:rPr kumimoji="0" lang="ca-E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+mn-cs"/>
                </a:rPr>
                <a:t>sectores</a:t>
              </a:r>
              <a:endParaRPr kumimoji="0" lang="ca-E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endParaRP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a-ES" sz="1200" dirty="0">
                  <a:solidFill>
                    <a:prstClr val="black"/>
                  </a:solidFill>
                  <a:latin typeface="Calibri" pitchFamily="34" charset="0"/>
                  <a:ea typeface="ＭＳ Ｐゴシック" pitchFamily="34" charset="-128"/>
                </a:rPr>
                <a:t>(%)</a:t>
              </a:r>
              <a:endParaRPr kumimoji="0" lang="ca-ES" sz="1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3613C2CF-15EF-4E0C-A405-ECFA6AAF1929}"/>
                </a:ext>
              </a:extLst>
            </p:cNvPr>
            <p:cNvSpPr txBox="1"/>
            <p:nvPr/>
          </p:nvSpPr>
          <p:spPr>
            <a:xfrm>
              <a:off x="6505572" y="5786662"/>
              <a:ext cx="5591177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ES" sz="1050" b="1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Nota: </a:t>
              </a:r>
              <a:r>
                <a:rPr lang="es-ES" sz="1050" dirty="0">
                  <a:solidFill>
                    <a:prstClr val="white">
                      <a:lumMod val="50000"/>
                    </a:prstClr>
                  </a:solidFill>
                  <a:latin typeface="Calibri" pitchFamily="34" charset="0"/>
                  <a:ea typeface="ＭＳ Ｐゴシック" pitchFamily="34" charset="-128"/>
                </a:rPr>
                <a:t>Agrupación de CC.AA. en función de la mayor importancia relativa de cada sector (en comparación al resto de CC.AA.) en términos de empleo: Agricultura (Andalucía, Extremadura y Murcia), Industria (Aragón, Cataluña,  La Rioja,  Navarra, País Vasco, y Valencia) y Servicios (Baleares, Canarias, Cantabria, Castilla La Mancha, Castilla y León, Galicia y Madrid).</a:t>
              </a:r>
            </a:p>
          </p:txBody>
        </p:sp>
      </p:grpSp>
      <p:sp>
        <p:nvSpPr>
          <p:cNvPr id="15" name="CuadroTexto 14">
            <a:extLst>
              <a:ext uri="{FF2B5EF4-FFF2-40B4-BE49-F238E27FC236}">
                <a16:creationId xmlns:a16="http://schemas.microsoft.com/office/drawing/2014/main" id="{15381502-7373-4BCA-827D-FF0DD4EB7D17}"/>
              </a:ext>
            </a:extLst>
          </p:cNvPr>
          <p:cNvSpPr txBox="1"/>
          <p:nvPr/>
        </p:nvSpPr>
        <p:spPr>
          <a:xfrm>
            <a:off x="546098" y="6480714"/>
            <a:ext cx="112172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05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Fuente: </a:t>
            </a:r>
            <a:r>
              <a:rPr lang="es-ES" sz="105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Llorens Jimeno, E. y Mestres Domènech, J (2020), “El impacto del envejecimiento en el crecimiento económico de España: un enfoque regional”, Documento trabajo 01/20, CaixaBank Research.</a:t>
            </a:r>
          </a:p>
        </p:txBody>
      </p:sp>
    </p:spTree>
    <p:extLst>
      <p:ext uri="{BB962C8B-B14F-4D97-AF65-F5344CB8AC3E}">
        <p14:creationId xmlns:p14="http://schemas.microsoft.com/office/powerpoint/2010/main" val="3750345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8BDB9F9-D537-4F39-B2A9-00D5DD6583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134" y="290629"/>
            <a:ext cx="7060565" cy="518108"/>
          </a:xfrm>
        </p:spPr>
        <p:txBody>
          <a:bodyPr/>
          <a:lstStyle/>
          <a:p>
            <a:pPr marL="0" indent="0"/>
            <a:endParaRPr lang="es-ES" sz="2400" dirty="0"/>
          </a:p>
        </p:txBody>
      </p:sp>
      <p:pic>
        <p:nvPicPr>
          <p:cNvPr id="9" name="Imagen 2">
            <a:extLst>
              <a:ext uri="{FF2B5EF4-FFF2-40B4-BE49-F238E27FC236}">
                <a16:creationId xmlns:a16="http://schemas.microsoft.com/office/drawing/2014/main" id="{6BC78CFC-D9EA-43DF-B03F-93CEAFE436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rgbClr val="009AD8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1743" r="9872"/>
          <a:stretch/>
        </p:blipFill>
        <p:spPr>
          <a:xfrm rot="16200000">
            <a:off x="-1933105" y="2962384"/>
            <a:ext cx="5201664" cy="1545294"/>
          </a:xfrm>
          <a:prstGeom prst="rect">
            <a:avLst/>
          </a:prstGeom>
        </p:spPr>
      </p:pic>
      <p:sp>
        <p:nvSpPr>
          <p:cNvPr id="10" name="2 Marcador de texto">
            <a:extLst>
              <a:ext uri="{FF2B5EF4-FFF2-40B4-BE49-F238E27FC236}">
                <a16:creationId xmlns:a16="http://schemas.microsoft.com/office/drawing/2014/main" id="{415DF4CB-0E32-4154-98D2-70F088C23726}"/>
              </a:ext>
            </a:extLst>
          </p:cNvPr>
          <p:cNvSpPr txBox="1">
            <a:spLocks/>
          </p:cNvSpPr>
          <p:nvPr/>
        </p:nvSpPr>
        <p:spPr bwMode="auto">
          <a:xfrm>
            <a:off x="2643792" y="1734483"/>
            <a:ext cx="8824308" cy="40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88900" indent="-88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chemeClr val="hlink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195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80959F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6286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8953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16840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6256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828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400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972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  <a:ea typeface="ＭＳ Ｐゴシック"/>
              </a:rPr>
              <a:t>Introducció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  <a:ea typeface="ＭＳ Ｐゴシック"/>
              </a:rPr>
              <a:t>Transición demográfica</a:t>
            </a:r>
            <a:endParaRPr kumimoji="0" lang="es-ES" sz="2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Envejecimiento y crecimiento económic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Mecanismos para paliar el impacto económico del envejecimient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  <a:ea typeface="ＭＳ Ｐゴシック"/>
              </a:rPr>
              <a:t>Conclusiones</a:t>
            </a:r>
            <a:endParaRPr kumimoji="0" lang="es-ES" sz="2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</p:txBody>
      </p:sp>
      <p:grpSp>
        <p:nvGrpSpPr>
          <p:cNvPr id="11" name="Grupo 9">
            <a:extLst>
              <a:ext uri="{FF2B5EF4-FFF2-40B4-BE49-F238E27FC236}">
                <a16:creationId xmlns:a16="http://schemas.microsoft.com/office/drawing/2014/main" id="{497AA137-200F-4EFC-BB64-54992BBFAAFA}"/>
              </a:ext>
            </a:extLst>
          </p:cNvPr>
          <p:cNvGrpSpPr/>
          <p:nvPr/>
        </p:nvGrpSpPr>
        <p:grpSpPr>
          <a:xfrm>
            <a:off x="1791999" y="1534294"/>
            <a:ext cx="676275" cy="676275"/>
            <a:chOff x="3057525" y="2571750"/>
            <a:chExt cx="676275" cy="676275"/>
          </a:xfrm>
        </p:grpSpPr>
        <p:sp>
          <p:nvSpPr>
            <p:cNvPr id="14" name="Rectángulo 7">
              <a:extLst>
                <a:ext uri="{FF2B5EF4-FFF2-40B4-BE49-F238E27FC236}">
                  <a16:creationId xmlns:a16="http://schemas.microsoft.com/office/drawing/2014/main" id="{F132D1CD-2446-4BC0-A1D6-A4ADA61BB635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5" name="Rectángulo 11">
              <a:extLst>
                <a:ext uri="{FF2B5EF4-FFF2-40B4-BE49-F238E27FC236}">
                  <a16:creationId xmlns:a16="http://schemas.microsoft.com/office/drawing/2014/main" id="{2624A886-111E-437E-B713-8D2DFF5F97C2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a-ES" sz="2800" b="1" dirty="0">
                  <a:solidFill>
                    <a:srgbClr val="4BACC6">
                      <a:lumMod val="60000"/>
                      <a:lumOff val="40000"/>
                    </a:srgbClr>
                  </a:solidFill>
                  <a:latin typeface="Calibri" panose="020F0502020204030204" pitchFamily="34" charset="0"/>
                  <a:ea typeface="ＭＳ Ｐゴシック"/>
                </a:rPr>
                <a:t>1</a:t>
              </a:r>
              <a:endParaRPr lang="es-ES" sz="2800" b="1" dirty="0">
                <a:solidFill>
                  <a:srgbClr val="4BACC6">
                    <a:lumMod val="60000"/>
                    <a:lumOff val="40000"/>
                  </a:srgbClr>
                </a:solidFill>
                <a:latin typeface="Calibri" panose="020F0502020204030204" pitchFamily="34" charset="0"/>
                <a:ea typeface="ＭＳ Ｐゴシック"/>
              </a:endParaRPr>
            </a:p>
          </p:txBody>
        </p:sp>
      </p:grpSp>
      <p:grpSp>
        <p:nvGrpSpPr>
          <p:cNvPr id="16" name="Grupo 12">
            <a:extLst>
              <a:ext uri="{FF2B5EF4-FFF2-40B4-BE49-F238E27FC236}">
                <a16:creationId xmlns:a16="http://schemas.microsoft.com/office/drawing/2014/main" id="{B3B71B00-8BDA-4E79-A610-643A03514497}"/>
              </a:ext>
            </a:extLst>
          </p:cNvPr>
          <p:cNvGrpSpPr/>
          <p:nvPr/>
        </p:nvGrpSpPr>
        <p:grpSpPr>
          <a:xfrm>
            <a:off x="1791999" y="2442681"/>
            <a:ext cx="676275" cy="676275"/>
            <a:chOff x="3057525" y="2571750"/>
            <a:chExt cx="676275" cy="676275"/>
          </a:xfrm>
        </p:grpSpPr>
        <p:sp>
          <p:nvSpPr>
            <p:cNvPr id="17" name="Rectángulo 13">
              <a:extLst>
                <a:ext uri="{FF2B5EF4-FFF2-40B4-BE49-F238E27FC236}">
                  <a16:creationId xmlns:a16="http://schemas.microsoft.com/office/drawing/2014/main" id="{343EB4AA-D70A-4F6C-8EF4-9233A98B73D6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8" name="Rectángulo 14">
              <a:extLst>
                <a:ext uri="{FF2B5EF4-FFF2-40B4-BE49-F238E27FC236}">
                  <a16:creationId xmlns:a16="http://schemas.microsoft.com/office/drawing/2014/main" id="{081C4A98-AD52-4CA5-B2A8-FDBF0CBC12FF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2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9" name="Grupo 12">
            <a:extLst>
              <a:ext uri="{FF2B5EF4-FFF2-40B4-BE49-F238E27FC236}">
                <a16:creationId xmlns:a16="http://schemas.microsoft.com/office/drawing/2014/main" id="{25A34E27-5245-49D6-A0A5-3F3A9852CD85}"/>
              </a:ext>
            </a:extLst>
          </p:cNvPr>
          <p:cNvGrpSpPr/>
          <p:nvPr/>
        </p:nvGrpSpPr>
        <p:grpSpPr>
          <a:xfrm>
            <a:off x="1791999" y="3351068"/>
            <a:ext cx="676275" cy="676275"/>
            <a:chOff x="3057525" y="2571750"/>
            <a:chExt cx="676275" cy="676275"/>
          </a:xfrm>
        </p:grpSpPr>
        <p:sp>
          <p:nvSpPr>
            <p:cNvPr id="20" name="Rectángulo 13">
              <a:extLst>
                <a:ext uri="{FF2B5EF4-FFF2-40B4-BE49-F238E27FC236}">
                  <a16:creationId xmlns:a16="http://schemas.microsoft.com/office/drawing/2014/main" id="{197069CD-8E47-4722-A263-AA6FF0CCA27E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9028F608-93B9-4467-AF3F-1F3BCCB7FB48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3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22" name="Grupo 12">
            <a:extLst>
              <a:ext uri="{FF2B5EF4-FFF2-40B4-BE49-F238E27FC236}">
                <a16:creationId xmlns:a16="http://schemas.microsoft.com/office/drawing/2014/main" id="{7BC0A413-024A-462D-AC23-E20439E1F52C}"/>
              </a:ext>
            </a:extLst>
          </p:cNvPr>
          <p:cNvGrpSpPr/>
          <p:nvPr/>
        </p:nvGrpSpPr>
        <p:grpSpPr>
          <a:xfrm>
            <a:off x="1791999" y="4259455"/>
            <a:ext cx="676275" cy="676275"/>
            <a:chOff x="3057525" y="2571750"/>
            <a:chExt cx="676275" cy="676275"/>
          </a:xfrm>
        </p:grpSpPr>
        <p:sp>
          <p:nvSpPr>
            <p:cNvPr id="23" name="Rectángulo 13">
              <a:extLst>
                <a:ext uri="{FF2B5EF4-FFF2-40B4-BE49-F238E27FC236}">
                  <a16:creationId xmlns:a16="http://schemas.microsoft.com/office/drawing/2014/main" id="{4EC36241-8CBD-4816-8ED0-9D2524860CF6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" name="Rectángulo 14">
              <a:extLst>
                <a:ext uri="{FF2B5EF4-FFF2-40B4-BE49-F238E27FC236}">
                  <a16:creationId xmlns:a16="http://schemas.microsoft.com/office/drawing/2014/main" id="{BEC9CCCC-E77A-4F6B-BDB3-D356F28E1633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a-ES" sz="2800" b="1" dirty="0">
                  <a:solidFill>
                    <a:prstClr val="black"/>
                  </a:solidFill>
                  <a:latin typeface="Calibri" panose="020F0502020204030204" pitchFamily="34" charset="0"/>
                  <a:ea typeface="ＭＳ Ｐゴシック"/>
                </a:rPr>
                <a:t>4</a:t>
              </a:r>
              <a:endParaRPr lang="es-ES" sz="2800" b="1" dirty="0">
                <a:solidFill>
                  <a:prstClr val="black"/>
                </a:solidFill>
                <a:latin typeface="Calibri" panose="020F0502020204030204" pitchFamily="34" charset="0"/>
                <a:ea typeface="ＭＳ Ｐゴシック"/>
              </a:endParaRPr>
            </a:p>
          </p:txBody>
        </p:sp>
      </p:grpSp>
      <p:grpSp>
        <p:nvGrpSpPr>
          <p:cNvPr id="25" name="Grupo 12">
            <a:extLst>
              <a:ext uri="{FF2B5EF4-FFF2-40B4-BE49-F238E27FC236}">
                <a16:creationId xmlns:a16="http://schemas.microsoft.com/office/drawing/2014/main" id="{EEB98479-CF7B-4CD5-B8B0-F2C3003FAB85}"/>
              </a:ext>
            </a:extLst>
          </p:cNvPr>
          <p:cNvGrpSpPr/>
          <p:nvPr/>
        </p:nvGrpSpPr>
        <p:grpSpPr>
          <a:xfrm>
            <a:off x="1791999" y="5167842"/>
            <a:ext cx="676275" cy="676275"/>
            <a:chOff x="3057525" y="2571750"/>
            <a:chExt cx="676275" cy="676275"/>
          </a:xfrm>
        </p:grpSpPr>
        <p:sp>
          <p:nvSpPr>
            <p:cNvPr id="26" name="Rectángulo 13">
              <a:extLst>
                <a:ext uri="{FF2B5EF4-FFF2-40B4-BE49-F238E27FC236}">
                  <a16:creationId xmlns:a16="http://schemas.microsoft.com/office/drawing/2014/main" id="{B9D88301-BF2C-41E6-B099-AF91138DDC9C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" name="Rectángulo 14">
              <a:extLst>
                <a:ext uri="{FF2B5EF4-FFF2-40B4-BE49-F238E27FC236}">
                  <a16:creationId xmlns:a16="http://schemas.microsoft.com/office/drawing/2014/main" id="{DDDAB773-4B5C-4D3F-B446-E3D01253B541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5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3592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382656" y="336255"/>
            <a:ext cx="11598880" cy="704427"/>
          </a:xfrm>
        </p:spPr>
        <p:txBody>
          <a:bodyPr/>
          <a:lstStyle/>
          <a:p>
            <a:r>
              <a:rPr lang="es-ES" dirty="0"/>
              <a:t>Palancas para contrarrestar el impacto del envejecimien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374B6FB-B3F6-442D-959A-81E2E6AE974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80002"/>
            <a:ext cx="936000" cy="5400000"/>
          </a:xfrm>
          <a:prstGeom prst="rect">
            <a:avLst/>
          </a:prstGeom>
        </p:spPr>
      </p:pic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0782FF36-0407-421A-BD33-E56619C0D9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39631680"/>
              </p:ext>
            </p:extLst>
          </p:nvPr>
        </p:nvGraphicFramePr>
        <p:xfrm>
          <a:off x="1050713" y="423180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4" name="Grupo 3">
            <a:extLst>
              <a:ext uri="{FF2B5EF4-FFF2-40B4-BE49-F238E27FC236}">
                <a16:creationId xmlns:a16="http://schemas.microsoft.com/office/drawing/2014/main" id="{E09A9A2B-DFC2-4752-9F78-2525F93F62B6}"/>
              </a:ext>
            </a:extLst>
          </p:cNvPr>
          <p:cNvGrpSpPr/>
          <p:nvPr/>
        </p:nvGrpSpPr>
        <p:grpSpPr>
          <a:xfrm>
            <a:off x="6887181" y="1402834"/>
            <a:ext cx="6662151" cy="962817"/>
            <a:chOff x="6887181" y="1402834"/>
            <a:chExt cx="6662151" cy="962817"/>
          </a:xfrm>
        </p:grpSpPr>
        <p:sp>
          <p:nvSpPr>
            <p:cNvPr id="49" name="Text Placeholder 4">
              <a:extLst>
                <a:ext uri="{FF2B5EF4-FFF2-40B4-BE49-F238E27FC236}">
                  <a16:creationId xmlns:a16="http://schemas.microsoft.com/office/drawing/2014/main" id="{CD91C33E-EB78-4B93-8972-8A6DA4832C0C}"/>
                </a:ext>
              </a:extLst>
            </p:cNvPr>
            <p:cNvSpPr txBox="1">
              <a:spLocks/>
            </p:cNvSpPr>
            <p:nvPr/>
          </p:nvSpPr>
          <p:spPr>
            <a:xfrm>
              <a:off x="6887181" y="1402834"/>
              <a:ext cx="4139797" cy="962817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/>
            <a:lstStyle>
              <a:lvl1pPr marL="0" indent="0"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hlink"/>
                </a:buClr>
                <a:buFont typeface="Wingdings" pitchFamily="2" charset="2"/>
                <a:buNone/>
                <a:defRPr sz="100">
                  <a:solidFill>
                    <a:schemeClr val="bg1">
                      <a:lumMod val="95000"/>
                      <a:alpha val="0"/>
                    </a:schemeClr>
                  </a:solidFill>
                  <a:latin typeface="Calibri" pitchFamily="34" charset="0"/>
                  <a:ea typeface="+mn-ea"/>
                  <a:cs typeface="Calibri" pitchFamily="34" charset="0"/>
                </a:defRPr>
              </a:lvl1pPr>
              <a:lvl2pPr marL="361950" indent="-93663"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25000"/>
                </a:spcAft>
                <a:buClr>
                  <a:srgbClr val="80959F"/>
                </a:buClr>
                <a:buFont typeface="Wingdings" pitchFamily="2" charset="2"/>
                <a:buChar char="§"/>
                <a:defRPr sz="1300">
                  <a:solidFill>
                    <a:srgbClr val="333333"/>
                  </a:solidFill>
                  <a:latin typeface="Calibri" pitchFamily="34" charset="0"/>
                  <a:ea typeface="+mn-ea"/>
                  <a:cs typeface="Calibri" pitchFamily="34" charset="0"/>
                </a:defRPr>
              </a:lvl2pPr>
              <a:lvl3pPr marL="628650" indent="-87313"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25000"/>
                </a:spcAft>
                <a:buClr>
                  <a:srgbClr val="9DAEB7"/>
                </a:buClr>
                <a:buFont typeface="Wingdings" pitchFamily="2" charset="2"/>
                <a:buChar char="§"/>
                <a:defRPr sz="1300">
                  <a:solidFill>
                    <a:srgbClr val="333333"/>
                  </a:solidFill>
                  <a:latin typeface="Calibri" pitchFamily="34" charset="0"/>
                  <a:ea typeface="+mn-ea"/>
                  <a:cs typeface="Calibri" pitchFamily="34" charset="0"/>
                </a:defRPr>
              </a:lvl3pPr>
              <a:lvl4pPr marL="895350" indent="-87313"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25000"/>
                </a:spcAft>
                <a:buClr>
                  <a:srgbClr val="9DAEB7"/>
                </a:buClr>
                <a:buFont typeface="Wingdings" pitchFamily="2" charset="2"/>
                <a:buChar char="§"/>
                <a:defRPr sz="1300">
                  <a:solidFill>
                    <a:srgbClr val="333333"/>
                  </a:solidFill>
                  <a:latin typeface="Calibri" pitchFamily="34" charset="0"/>
                  <a:ea typeface="+mn-ea"/>
                  <a:cs typeface="Calibri" pitchFamily="34" charset="0"/>
                </a:defRPr>
              </a:lvl4pPr>
              <a:lvl5pPr marL="1168400" indent="-93663" algn="l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25000"/>
                </a:spcAft>
                <a:buClr>
                  <a:srgbClr val="9DAEB7"/>
                </a:buClr>
                <a:buFont typeface="Wingdings" pitchFamily="2" charset="2"/>
                <a:buChar char="§"/>
                <a:defRPr sz="1300">
                  <a:solidFill>
                    <a:srgbClr val="333333"/>
                  </a:solidFill>
                  <a:latin typeface="Calibri" pitchFamily="34" charset="0"/>
                  <a:ea typeface="+mn-ea"/>
                  <a:cs typeface="Calibri" pitchFamily="34" charset="0"/>
                </a:defRPr>
              </a:lvl5pPr>
              <a:lvl6pPr marL="1625600" indent="-93663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25000"/>
                </a:spcAft>
                <a:buClr>
                  <a:srgbClr val="9DAEB7"/>
                </a:buClr>
                <a:buChar char="."/>
                <a:defRPr sz="1000">
                  <a:solidFill>
                    <a:srgbClr val="333333"/>
                  </a:solidFill>
                  <a:latin typeface="+mn-lt"/>
                  <a:ea typeface="+mn-ea"/>
                </a:defRPr>
              </a:lvl6pPr>
              <a:lvl7pPr marL="2082800" indent="-93663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25000"/>
                </a:spcAft>
                <a:buClr>
                  <a:srgbClr val="9DAEB7"/>
                </a:buClr>
                <a:buChar char="."/>
                <a:defRPr sz="1000">
                  <a:solidFill>
                    <a:srgbClr val="333333"/>
                  </a:solidFill>
                  <a:latin typeface="+mn-lt"/>
                  <a:ea typeface="+mn-ea"/>
                </a:defRPr>
              </a:lvl7pPr>
              <a:lvl8pPr marL="2540000" indent="-93663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25000"/>
                </a:spcAft>
                <a:buClr>
                  <a:srgbClr val="9DAEB7"/>
                </a:buClr>
                <a:buChar char="."/>
                <a:defRPr sz="1000">
                  <a:solidFill>
                    <a:srgbClr val="333333"/>
                  </a:solidFill>
                  <a:latin typeface="+mn-lt"/>
                  <a:ea typeface="+mn-ea"/>
                </a:defRPr>
              </a:lvl8pPr>
              <a:lvl9pPr marL="2997200" indent="-93663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25000"/>
                </a:spcAft>
                <a:buClr>
                  <a:srgbClr val="9DAEB7"/>
                </a:buClr>
                <a:buChar char="."/>
                <a:defRPr sz="1000">
                  <a:solidFill>
                    <a:srgbClr val="333333"/>
                  </a:solidFill>
                  <a:latin typeface="+mn-lt"/>
                  <a:ea typeface="+mn-ea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25000"/>
                </a:spcAft>
                <a:buClr>
                  <a:srgbClr val="4ABDF0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>
                      <a:lumMod val="95000"/>
                      <a:alpha val="0"/>
                    </a:sysClr>
                  </a:solidFill>
                  <a:effectLst/>
                  <a:uLnTx/>
                  <a:uFillTx/>
                  <a:latin typeface="Calibri" pitchFamily="34" charset="0"/>
                  <a:ea typeface="ＭＳ Ｐゴシック"/>
                  <a:cs typeface="Calibri" pitchFamily="34" charset="0"/>
                </a:rPr>
                <a:t>.</a:t>
              </a:r>
              <a:endParaRPr kumimoji="0" lang="en-US" sz="1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>
                    <a:lumMod val="95000"/>
                    <a:alpha val="0"/>
                  </a:sys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sp>
          <p:nvSpPr>
            <p:cNvPr id="115" name="CuadroTexto 114">
              <a:extLst>
                <a:ext uri="{FF2B5EF4-FFF2-40B4-BE49-F238E27FC236}">
                  <a16:creationId xmlns:a16="http://schemas.microsoft.com/office/drawing/2014/main" id="{A1603817-1624-4CE7-977F-AEB6E5EBA7DE}"/>
                </a:ext>
              </a:extLst>
            </p:cNvPr>
            <p:cNvSpPr txBox="1"/>
            <p:nvPr/>
          </p:nvSpPr>
          <p:spPr>
            <a:xfrm>
              <a:off x="6999041" y="1561078"/>
              <a:ext cx="655029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s-ES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itchFamily="34" charset="0"/>
                </a:rPr>
                <a:t>Potenciar la natalidad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s-ES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Calibri" pitchFamily="34" charset="0"/>
                </a:rPr>
                <a:t>Atraer y gestionar la inmigración</a:t>
              </a:r>
              <a:endParaRPr lang="es-ES" b="0" u="heavy" dirty="0">
                <a:solidFill>
                  <a:schemeClr val="tx1">
                    <a:lumMod val="50000"/>
                    <a:lumOff val="50000"/>
                  </a:schemeClr>
                </a:solidFill>
                <a:uFill>
                  <a:solidFill>
                    <a:srgbClr val="FF0000"/>
                  </a:solidFill>
                </a:uFill>
                <a:latin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95935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 Placeholder 4">
            <a:extLst>
              <a:ext uri="{FF2B5EF4-FFF2-40B4-BE49-F238E27FC236}">
                <a16:creationId xmlns:a16="http://schemas.microsoft.com/office/drawing/2014/main" id="{62AC8DA1-1A71-44EB-85B1-A70BF561DAE3}"/>
              </a:ext>
            </a:extLst>
          </p:cNvPr>
          <p:cNvSpPr txBox="1">
            <a:spLocks/>
          </p:cNvSpPr>
          <p:nvPr/>
        </p:nvSpPr>
        <p:spPr>
          <a:xfrm>
            <a:off x="8041103" y="3827409"/>
            <a:ext cx="3865147" cy="1877478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chemeClr val="hlink"/>
              </a:buClr>
              <a:buFont typeface="Wingdings" pitchFamily="2" charset="2"/>
              <a:buNone/>
              <a:defRPr sz="100">
                <a:solidFill>
                  <a:schemeClr val="bg1">
                    <a:lumMod val="95000"/>
                    <a:alpha val="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195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80959F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6286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8953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16840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6256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828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400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972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4ABDF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00" b="0" i="0" u="none" strike="noStrike" kern="0" cap="none" spc="0" normalizeH="0" baseline="0" noProof="0">
                <a:ln>
                  <a:noFill/>
                </a:ln>
                <a:solidFill>
                  <a:sysClr val="window" lastClr="FFFFFF">
                    <a:lumMod val="95000"/>
                    <a:alpha val="0"/>
                  </a:sys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.</a:t>
            </a:r>
            <a:endParaRPr kumimoji="0" lang="en-US" sz="100" b="0" i="0" u="none" strike="noStrike" kern="0" cap="none" spc="0" normalizeH="0" baseline="0" noProof="0" dirty="0">
              <a:ln>
                <a:noFill/>
              </a:ln>
              <a:solidFill>
                <a:sysClr val="window" lastClr="FFFFFF">
                  <a:lumMod val="95000"/>
                  <a:alpha val="0"/>
                </a:sys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</p:txBody>
      </p:sp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382656" y="336255"/>
            <a:ext cx="11598880" cy="704427"/>
          </a:xfrm>
        </p:spPr>
        <p:txBody>
          <a:bodyPr/>
          <a:lstStyle/>
          <a:p>
            <a:r>
              <a:rPr lang="es-ES" dirty="0"/>
              <a:t>Palancas para contrarrestar el impacto del envejecimien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374B6FB-B3F6-442D-959A-81E2E6AE974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80002"/>
            <a:ext cx="936000" cy="5400000"/>
          </a:xfrm>
          <a:prstGeom prst="rect">
            <a:avLst/>
          </a:prstGeom>
        </p:spPr>
      </p:pic>
      <p:sp>
        <p:nvSpPr>
          <p:cNvPr id="18" name="CuadroTexto 17"/>
          <p:cNvSpPr txBox="1"/>
          <p:nvPr/>
        </p:nvSpPr>
        <p:spPr>
          <a:xfrm>
            <a:off x="8041103" y="4037486"/>
            <a:ext cx="376955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Aumentar la tasa de ocupació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Mejorar la empleabilida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Ligar la edad estándar de jubilación a la esperanza de vid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Flexibilizar el sistema de jubilació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s-ES" dirty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0782FF36-0407-421A-BD33-E56619C0D9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8452684"/>
              </p:ext>
            </p:extLst>
          </p:nvPr>
        </p:nvGraphicFramePr>
        <p:xfrm>
          <a:off x="1050713" y="423180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926228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CD91C33E-EB78-4B93-8972-8A6DA4832C0C}"/>
              </a:ext>
            </a:extLst>
          </p:cNvPr>
          <p:cNvSpPr txBox="1">
            <a:spLocks/>
          </p:cNvSpPr>
          <p:nvPr/>
        </p:nvSpPr>
        <p:spPr>
          <a:xfrm>
            <a:off x="1204275" y="4318864"/>
            <a:ext cx="3948750" cy="1815882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chemeClr val="hlink"/>
              </a:buClr>
              <a:buFont typeface="Wingdings" pitchFamily="2" charset="2"/>
              <a:buNone/>
              <a:defRPr sz="100">
                <a:solidFill>
                  <a:schemeClr val="bg1">
                    <a:lumMod val="95000"/>
                    <a:alpha val="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195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80959F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6286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8953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16840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6256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828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400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972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4ABDF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00" b="0" i="0" u="none" strike="noStrike" kern="0" cap="none" spc="0" normalizeH="0" baseline="0" noProof="0">
                <a:ln>
                  <a:noFill/>
                </a:ln>
                <a:solidFill>
                  <a:sysClr val="window" lastClr="FFFFFF">
                    <a:lumMod val="95000"/>
                    <a:alpha val="0"/>
                  </a:sys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.</a:t>
            </a:r>
            <a:endParaRPr kumimoji="0" lang="en-US" sz="100" b="0" i="0" u="none" strike="noStrike" kern="0" cap="none" spc="0" normalizeH="0" baseline="0" noProof="0" dirty="0">
              <a:ln>
                <a:noFill/>
              </a:ln>
              <a:solidFill>
                <a:sysClr val="window" lastClr="FFFFFF">
                  <a:lumMod val="95000"/>
                  <a:alpha val="0"/>
                </a:sys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</p:txBody>
      </p:sp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382656" y="336255"/>
            <a:ext cx="11598880" cy="704427"/>
          </a:xfrm>
        </p:spPr>
        <p:txBody>
          <a:bodyPr/>
          <a:lstStyle/>
          <a:p>
            <a:r>
              <a:rPr lang="es-ES" dirty="0"/>
              <a:t>Palancas para contrarrestar el impacto del envejecimient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374B6FB-B3F6-442D-959A-81E2E6AE974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80002"/>
            <a:ext cx="936000" cy="5400000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>
            <a:off x="1204275" y="4459642"/>
            <a:ext cx="38176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Educación más tempran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Educación en habilidades tecnológica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Educación en habilidades no cognitiva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Enseñar a aprend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Formación a lo largo de la vida laboral</a:t>
            </a:r>
          </a:p>
          <a:p>
            <a:r>
              <a:rPr lang="es-ES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	</a:t>
            </a: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0782FF36-0407-421A-BD33-E56619C0D9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9980701"/>
              </p:ext>
            </p:extLst>
          </p:nvPr>
        </p:nvGraphicFramePr>
        <p:xfrm>
          <a:off x="1050713" y="423180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970468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CD91C33E-EB78-4B93-8972-8A6DA4832C0C}"/>
              </a:ext>
            </a:extLst>
          </p:cNvPr>
          <p:cNvSpPr txBox="1">
            <a:spLocks/>
          </p:cNvSpPr>
          <p:nvPr/>
        </p:nvSpPr>
        <p:spPr>
          <a:xfrm>
            <a:off x="2307436" y="2992911"/>
            <a:ext cx="6217544" cy="649480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chemeClr val="hlink"/>
              </a:buClr>
              <a:buFont typeface="Wingdings" pitchFamily="2" charset="2"/>
              <a:buNone/>
              <a:defRPr sz="100">
                <a:solidFill>
                  <a:schemeClr val="bg1">
                    <a:lumMod val="95000"/>
                    <a:alpha val="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195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80959F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6286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8953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16840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6256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828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400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972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4ABDF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00" b="0" i="0" u="none" strike="noStrike" kern="0" cap="none" spc="0" normalizeH="0" baseline="0" noProof="0">
                <a:ln>
                  <a:noFill/>
                </a:ln>
                <a:solidFill>
                  <a:sysClr val="window" lastClr="FFFFFF">
                    <a:lumMod val="95000"/>
                    <a:alpha val="0"/>
                  </a:sys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.</a:t>
            </a:r>
            <a:endParaRPr kumimoji="0" lang="en-US" sz="100" b="0" i="0" u="none" strike="noStrike" kern="0" cap="none" spc="0" normalizeH="0" baseline="0" noProof="0" dirty="0">
              <a:ln>
                <a:noFill/>
              </a:ln>
              <a:solidFill>
                <a:sysClr val="window" lastClr="FFFFFF">
                  <a:lumMod val="95000"/>
                  <a:alpha val="0"/>
                </a:sys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D91C33E-EB78-4B93-8972-8A6DA4832C0C}"/>
              </a:ext>
            </a:extLst>
          </p:cNvPr>
          <p:cNvSpPr txBox="1">
            <a:spLocks/>
          </p:cNvSpPr>
          <p:nvPr/>
        </p:nvSpPr>
        <p:spPr>
          <a:xfrm>
            <a:off x="2327405" y="1389552"/>
            <a:ext cx="6180854" cy="563429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chemeClr val="hlink"/>
              </a:buClr>
              <a:buFont typeface="Wingdings" pitchFamily="2" charset="2"/>
              <a:buNone/>
              <a:defRPr sz="100">
                <a:solidFill>
                  <a:schemeClr val="bg1">
                    <a:lumMod val="95000"/>
                    <a:alpha val="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195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80959F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6286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8953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16840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6256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828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400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972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4ABDF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00" b="0" i="0" u="none" strike="noStrike" kern="0" cap="none" spc="0" normalizeH="0" baseline="0" noProof="0">
                <a:ln>
                  <a:noFill/>
                </a:ln>
                <a:solidFill>
                  <a:sysClr val="window" lastClr="FFFFFF">
                    <a:lumMod val="95000"/>
                    <a:alpha val="0"/>
                  </a:sys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.</a:t>
            </a:r>
            <a:endParaRPr kumimoji="0" lang="en-US" sz="100" b="0" i="0" u="none" strike="noStrike" kern="0" cap="none" spc="0" normalizeH="0" baseline="0" noProof="0" dirty="0">
              <a:ln>
                <a:noFill/>
              </a:ln>
              <a:solidFill>
                <a:sysClr val="window" lastClr="FFFFFF">
                  <a:lumMod val="95000"/>
                  <a:alpha val="0"/>
                </a:sys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</p:txBody>
      </p:sp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382656" y="336255"/>
            <a:ext cx="11598880" cy="704427"/>
          </a:xfrm>
        </p:spPr>
        <p:txBody>
          <a:bodyPr/>
          <a:lstStyle/>
          <a:p>
            <a:pPr>
              <a:lnSpc>
                <a:spcPts val="2800"/>
              </a:lnSpc>
            </a:pPr>
            <a:r>
              <a:rPr lang="es-ES" dirty="0"/>
              <a:t>Conclusiones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374B6FB-B3F6-442D-959A-81E2E6AE974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80002"/>
            <a:ext cx="936000" cy="5400000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>
            <a:off x="2344127" y="1472283"/>
            <a:ext cx="61808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Transición demográfica -&gt; mayor </a:t>
            </a:r>
            <a:r>
              <a:rPr lang="es-ES" u="heavy" dirty="0">
                <a:solidFill>
                  <a:schemeClr val="tx1">
                    <a:lumMod val="50000"/>
                    <a:lumOff val="50000"/>
                  </a:schemeClr>
                </a:solidFill>
                <a:uFill>
                  <a:solidFill>
                    <a:srgbClr val="FF0000"/>
                  </a:solidFill>
                </a:uFill>
                <a:latin typeface="Calibri" pitchFamily="34" charset="0"/>
              </a:rPr>
              <a:t>envejecimiento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poblacional</a:t>
            </a:r>
          </a:p>
        </p:txBody>
      </p:sp>
      <p:grpSp>
        <p:nvGrpSpPr>
          <p:cNvPr id="75" name="Grupo 74">
            <a:extLst>
              <a:ext uri="{FF2B5EF4-FFF2-40B4-BE49-F238E27FC236}">
                <a16:creationId xmlns:a16="http://schemas.microsoft.com/office/drawing/2014/main" id="{A21B96C8-80EE-43F8-9696-CDF1DE1B7EAF}"/>
              </a:ext>
            </a:extLst>
          </p:cNvPr>
          <p:cNvGrpSpPr/>
          <p:nvPr/>
        </p:nvGrpSpPr>
        <p:grpSpPr>
          <a:xfrm rot="16200000">
            <a:off x="1525943" y="3002669"/>
            <a:ext cx="504000" cy="504000"/>
            <a:chOff x="959875" y="3554271"/>
            <a:chExt cx="720000" cy="720000"/>
          </a:xfrm>
        </p:grpSpPr>
        <p:sp>
          <p:nvSpPr>
            <p:cNvPr id="76" name="Elipse 75">
              <a:extLst>
                <a:ext uri="{FF2B5EF4-FFF2-40B4-BE49-F238E27FC236}">
                  <a16:creationId xmlns:a16="http://schemas.microsoft.com/office/drawing/2014/main" id="{D0C0349E-B58E-4B22-92A3-1361DFE8F3EB}"/>
                </a:ext>
              </a:extLst>
            </p:cNvPr>
            <p:cNvSpPr/>
            <p:nvPr/>
          </p:nvSpPr>
          <p:spPr>
            <a:xfrm rot="2700000">
              <a:off x="959875" y="3554271"/>
              <a:ext cx="720000" cy="720000"/>
            </a:xfrm>
            <a:prstGeom prst="ellipse">
              <a:avLst/>
            </a:prstGeom>
            <a:solidFill>
              <a:srgbClr val="4ABDF0"/>
            </a:solidFill>
            <a:ln w="25400" cap="flat" cmpd="sng" algn="ctr">
              <a:noFill/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s-ES" kern="0">
                <a:solidFill>
                  <a:prstClr val="white"/>
                </a:solidFill>
                <a:latin typeface="Century Gothic"/>
              </a:endParaRPr>
            </a:p>
          </p:txBody>
        </p:sp>
        <p:grpSp>
          <p:nvGrpSpPr>
            <p:cNvPr id="77" name="Grupo 76">
              <a:extLst>
                <a:ext uri="{FF2B5EF4-FFF2-40B4-BE49-F238E27FC236}">
                  <a16:creationId xmlns:a16="http://schemas.microsoft.com/office/drawing/2014/main" id="{A55678EA-E153-4AA3-8FEB-F29A2281CD62}"/>
                </a:ext>
              </a:extLst>
            </p:cNvPr>
            <p:cNvGrpSpPr/>
            <p:nvPr/>
          </p:nvGrpSpPr>
          <p:grpSpPr>
            <a:xfrm>
              <a:off x="1125637" y="3677707"/>
              <a:ext cx="376177" cy="456662"/>
              <a:chOff x="1337857" y="4210049"/>
              <a:chExt cx="223874" cy="271773"/>
            </a:xfrm>
          </p:grpSpPr>
          <p:grpSp>
            <p:nvGrpSpPr>
              <p:cNvPr id="78" name="Graphic 1">
                <a:extLst>
                  <a:ext uri="{FF2B5EF4-FFF2-40B4-BE49-F238E27FC236}">
                    <a16:creationId xmlns:a16="http://schemas.microsoft.com/office/drawing/2014/main" id="{BA38219F-7A12-4457-9034-D8B8B0718FCA}"/>
                  </a:ext>
                </a:extLst>
              </p:cNvPr>
              <p:cNvGrpSpPr/>
              <p:nvPr/>
            </p:nvGrpSpPr>
            <p:grpSpPr>
              <a:xfrm>
                <a:off x="1416438" y="4210049"/>
                <a:ext cx="145293" cy="145293"/>
                <a:chOff x="6459023" y="3459120"/>
                <a:chExt cx="351112" cy="351112"/>
              </a:xfrm>
              <a:noFill/>
            </p:grpSpPr>
            <p:sp>
              <p:nvSpPr>
                <p:cNvPr id="82" name="Freeform: Shape 2070">
                  <a:extLst>
                    <a:ext uri="{FF2B5EF4-FFF2-40B4-BE49-F238E27FC236}">
                      <a16:creationId xmlns:a16="http://schemas.microsoft.com/office/drawing/2014/main" id="{05DDF760-9FC4-4309-9368-CFE6FAA199EC}"/>
                    </a:ext>
                  </a:extLst>
                </p:cNvPr>
                <p:cNvSpPr/>
                <p:nvPr/>
              </p:nvSpPr>
              <p:spPr>
                <a:xfrm>
                  <a:off x="6459023" y="3459120"/>
                  <a:ext cx="351112" cy="351112"/>
                </a:xfrm>
                <a:custGeom>
                  <a:avLst/>
                  <a:gdLst>
                    <a:gd name="connsiteX0" fmla="*/ 351113 w 351112"/>
                    <a:gd name="connsiteY0" fmla="*/ 201364 h 351112"/>
                    <a:gd name="connsiteX1" fmla="*/ 351113 w 351112"/>
                    <a:gd name="connsiteY1" fmla="*/ 151023 h 351112"/>
                    <a:gd name="connsiteX2" fmla="*/ 315428 w 351112"/>
                    <a:gd name="connsiteY2" fmla="*/ 151023 h 351112"/>
                    <a:gd name="connsiteX3" fmla="*/ 292488 w 351112"/>
                    <a:gd name="connsiteY3" fmla="*/ 94947 h 351112"/>
                    <a:gd name="connsiteX4" fmla="*/ 317977 w 351112"/>
                    <a:gd name="connsiteY4" fmla="*/ 69458 h 351112"/>
                    <a:gd name="connsiteX5" fmla="*/ 282292 w 351112"/>
                    <a:gd name="connsiteY5" fmla="*/ 33773 h 351112"/>
                    <a:gd name="connsiteX6" fmla="*/ 256803 w 351112"/>
                    <a:gd name="connsiteY6" fmla="*/ 59262 h 351112"/>
                    <a:gd name="connsiteX7" fmla="*/ 200727 w 351112"/>
                    <a:gd name="connsiteY7" fmla="*/ 36322 h 351112"/>
                    <a:gd name="connsiteX8" fmla="*/ 200727 w 351112"/>
                    <a:gd name="connsiteY8" fmla="*/ 0 h 351112"/>
                    <a:gd name="connsiteX9" fmla="*/ 150386 w 351112"/>
                    <a:gd name="connsiteY9" fmla="*/ 0 h 351112"/>
                    <a:gd name="connsiteX10" fmla="*/ 150386 w 351112"/>
                    <a:gd name="connsiteY10" fmla="*/ 35685 h 351112"/>
                    <a:gd name="connsiteX11" fmla="*/ 94310 w 351112"/>
                    <a:gd name="connsiteY11" fmla="*/ 58625 h 351112"/>
                    <a:gd name="connsiteX12" fmla="*/ 68821 w 351112"/>
                    <a:gd name="connsiteY12" fmla="*/ 33136 h 351112"/>
                    <a:gd name="connsiteX13" fmla="*/ 33136 w 351112"/>
                    <a:gd name="connsiteY13" fmla="*/ 68821 h 351112"/>
                    <a:gd name="connsiteX14" fmla="*/ 58625 w 351112"/>
                    <a:gd name="connsiteY14" fmla="*/ 94310 h 351112"/>
                    <a:gd name="connsiteX15" fmla="*/ 35685 w 351112"/>
                    <a:gd name="connsiteY15" fmla="*/ 150386 h 351112"/>
                    <a:gd name="connsiteX16" fmla="*/ 0 w 351112"/>
                    <a:gd name="connsiteY16" fmla="*/ 150386 h 351112"/>
                    <a:gd name="connsiteX17" fmla="*/ 0 w 351112"/>
                    <a:gd name="connsiteY17" fmla="*/ 200727 h 351112"/>
                    <a:gd name="connsiteX18" fmla="*/ 35685 w 351112"/>
                    <a:gd name="connsiteY18" fmla="*/ 200727 h 351112"/>
                    <a:gd name="connsiteX19" fmla="*/ 58625 w 351112"/>
                    <a:gd name="connsiteY19" fmla="*/ 256803 h 351112"/>
                    <a:gd name="connsiteX20" fmla="*/ 33136 w 351112"/>
                    <a:gd name="connsiteY20" fmla="*/ 282292 h 351112"/>
                    <a:gd name="connsiteX21" fmla="*/ 68821 w 351112"/>
                    <a:gd name="connsiteY21" fmla="*/ 317977 h 351112"/>
                    <a:gd name="connsiteX22" fmla="*/ 94310 w 351112"/>
                    <a:gd name="connsiteY22" fmla="*/ 292488 h 351112"/>
                    <a:gd name="connsiteX23" fmla="*/ 150386 w 351112"/>
                    <a:gd name="connsiteY23" fmla="*/ 315428 h 351112"/>
                    <a:gd name="connsiteX24" fmla="*/ 150386 w 351112"/>
                    <a:gd name="connsiteY24" fmla="*/ 351113 h 351112"/>
                    <a:gd name="connsiteX25" fmla="*/ 200727 w 351112"/>
                    <a:gd name="connsiteY25" fmla="*/ 351113 h 351112"/>
                    <a:gd name="connsiteX26" fmla="*/ 200727 w 351112"/>
                    <a:gd name="connsiteY26" fmla="*/ 315428 h 351112"/>
                    <a:gd name="connsiteX27" fmla="*/ 256803 w 351112"/>
                    <a:gd name="connsiteY27" fmla="*/ 292488 h 351112"/>
                    <a:gd name="connsiteX28" fmla="*/ 282292 w 351112"/>
                    <a:gd name="connsiteY28" fmla="*/ 317977 h 351112"/>
                    <a:gd name="connsiteX29" fmla="*/ 317977 w 351112"/>
                    <a:gd name="connsiteY29" fmla="*/ 282292 h 351112"/>
                    <a:gd name="connsiteX30" fmla="*/ 292488 w 351112"/>
                    <a:gd name="connsiteY30" fmla="*/ 256803 h 351112"/>
                    <a:gd name="connsiteX31" fmla="*/ 315428 w 351112"/>
                    <a:gd name="connsiteY31" fmla="*/ 200727 h 351112"/>
                    <a:gd name="connsiteX32" fmla="*/ 351113 w 351112"/>
                    <a:gd name="connsiteY32" fmla="*/ 200727 h 351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351112" h="351112">
                      <a:moveTo>
                        <a:pt x="351113" y="201364"/>
                      </a:moveTo>
                      <a:lnTo>
                        <a:pt x="351113" y="151023"/>
                      </a:lnTo>
                      <a:lnTo>
                        <a:pt x="315428" y="151023"/>
                      </a:lnTo>
                      <a:cubicBezTo>
                        <a:pt x="311604" y="130632"/>
                        <a:pt x="303958" y="111515"/>
                        <a:pt x="292488" y="94947"/>
                      </a:cubicBezTo>
                      <a:lnTo>
                        <a:pt x="317977" y="69458"/>
                      </a:lnTo>
                      <a:lnTo>
                        <a:pt x="282292" y="33773"/>
                      </a:lnTo>
                      <a:lnTo>
                        <a:pt x="256803" y="59262"/>
                      </a:lnTo>
                      <a:cubicBezTo>
                        <a:pt x="240235" y="47792"/>
                        <a:pt x="221118" y="39508"/>
                        <a:pt x="200727" y="36322"/>
                      </a:cubicBezTo>
                      <a:lnTo>
                        <a:pt x="200727" y="0"/>
                      </a:lnTo>
                      <a:lnTo>
                        <a:pt x="150386" y="0"/>
                      </a:lnTo>
                      <a:lnTo>
                        <a:pt x="150386" y="35685"/>
                      </a:lnTo>
                      <a:cubicBezTo>
                        <a:pt x="129994" y="39508"/>
                        <a:pt x="110878" y="47155"/>
                        <a:pt x="94310" y="58625"/>
                      </a:cubicBezTo>
                      <a:lnTo>
                        <a:pt x="68821" y="33136"/>
                      </a:lnTo>
                      <a:lnTo>
                        <a:pt x="33136" y="68821"/>
                      </a:lnTo>
                      <a:lnTo>
                        <a:pt x="58625" y="94310"/>
                      </a:lnTo>
                      <a:cubicBezTo>
                        <a:pt x="47155" y="110878"/>
                        <a:pt x="38871" y="129994"/>
                        <a:pt x="35685" y="150386"/>
                      </a:cubicBezTo>
                      <a:lnTo>
                        <a:pt x="0" y="150386"/>
                      </a:lnTo>
                      <a:lnTo>
                        <a:pt x="0" y="200727"/>
                      </a:lnTo>
                      <a:lnTo>
                        <a:pt x="35685" y="200727"/>
                      </a:lnTo>
                      <a:cubicBezTo>
                        <a:pt x="39508" y="221118"/>
                        <a:pt x="47155" y="240235"/>
                        <a:pt x="58625" y="256803"/>
                      </a:cubicBezTo>
                      <a:lnTo>
                        <a:pt x="33136" y="282292"/>
                      </a:lnTo>
                      <a:lnTo>
                        <a:pt x="68821" y="317977"/>
                      </a:lnTo>
                      <a:lnTo>
                        <a:pt x="94310" y="292488"/>
                      </a:lnTo>
                      <a:cubicBezTo>
                        <a:pt x="110878" y="303958"/>
                        <a:pt x="129994" y="312242"/>
                        <a:pt x="150386" y="315428"/>
                      </a:cubicBezTo>
                      <a:lnTo>
                        <a:pt x="150386" y="351113"/>
                      </a:lnTo>
                      <a:lnTo>
                        <a:pt x="200727" y="351113"/>
                      </a:lnTo>
                      <a:lnTo>
                        <a:pt x="200727" y="315428"/>
                      </a:lnTo>
                      <a:cubicBezTo>
                        <a:pt x="221118" y="311604"/>
                        <a:pt x="240235" y="303958"/>
                        <a:pt x="256803" y="292488"/>
                      </a:cubicBezTo>
                      <a:lnTo>
                        <a:pt x="282292" y="317977"/>
                      </a:lnTo>
                      <a:lnTo>
                        <a:pt x="317977" y="282292"/>
                      </a:lnTo>
                      <a:lnTo>
                        <a:pt x="292488" y="256803"/>
                      </a:lnTo>
                      <a:cubicBezTo>
                        <a:pt x="303958" y="240235"/>
                        <a:pt x="312242" y="221118"/>
                        <a:pt x="315428" y="200727"/>
                      </a:cubicBezTo>
                      <a:lnTo>
                        <a:pt x="351113" y="2007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ysClr val="window" lastClr="FFFFFF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s-ES" kern="0">
                    <a:solidFill>
                      <a:prstClr val="black"/>
                    </a:solidFill>
                    <a:latin typeface="Segoe UI Light"/>
                  </a:endParaRPr>
                </a:p>
              </p:txBody>
            </p:sp>
            <p:sp>
              <p:nvSpPr>
                <p:cNvPr id="83" name="Freeform: Shape 2071">
                  <a:extLst>
                    <a:ext uri="{FF2B5EF4-FFF2-40B4-BE49-F238E27FC236}">
                      <a16:creationId xmlns:a16="http://schemas.microsoft.com/office/drawing/2014/main" id="{283C3D75-9493-40B1-BD8A-FE02208EC83B}"/>
                    </a:ext>
                  </a:extLst>
                </p:cNvPr>
                <p:cNvSpPr/>
                <p:nvPr/>
              </p:nvSpPr>
              <p:spPr>
                <a:xfrm>
                  <a:off x="6533578" y="3534313"/>
                  <a:ext cx="201363" cy="201363"/>
                </a:xfrm>
                <a:custGeom>
                  <a:avLst/>
                  <a:gdLst>
                    <a:gd name="connsiteX0" fmla="*/ 201364 w 201363"/>
                    <a:gd name="connsiteY0" fmla="*/ 100682 h 201363"/>
                    <a:gd name="connsiteX1" fmla="*/ 100682 w 201363"/>
                    <a:gd name="connsiteY1" fmla="*/ 201364 h 201363"/>
                    <a:gd name="connsiteX2" fmla="*/ 0 w 201363"/>
                    <a:gd name="connsiteY2" fmla="*/ 100682 h 201363"/>
                    <a:gd name="connsiteX3" fmla="*/ 100682 w 201363"/>
                    <a:gd name="connsiteY3" fmla="*/ 0 h 201363"/>
                    <a:gd name="connsiteX4" fmla="*/ 201364 w 201363"/>
                    <a:gd name="connsiteY4" fmla="*/ 100682 h 201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1363" h="201363">
                      <a:moveTo>
                        <a:pt x="201364" y="100682"/>
                      </a:moveTo>
                      <a:cubicBezTo>
                        <a:pt x="201364" y="156287"/>
                        <a:pt x="156287" y="201364"/>
                        <a:pt x="100682" y="201364"/>
                      </a:cubicBezTo>
                      <a:cubicBezTo>
                        <a:pt x="45077" y="201364"/>
                        <a:pt x="0" y="156287"/>
                        <a:pt x="0" y="100682"/>
                      </a:cubicBezTo>
                      <a:cubicBezTo>
                        <a:pt x="0" y="45077"/>
                        <a:pt x="45077" y="0"/>
                        <a:pt x="100682" y="0"/>
                      </a:cubicBezTo>
                      <a:cubicBezTo>
                        <a:pt x="156287" y="0"/>
                        <a:pt x="201364" y="45077"/>
                        <a:pt x="201364" y="10068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ysClr val="window" lastClr="FFFFFF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s-ES" kern="0">
                    <a:solidFill>
                      <a:prstClr val="black"/>
                    </a:solidFill>
                    <a:latin typeface="Segoe UI Light"/>
                  </a:endParaRPr>
                </a:p>
              </p:txBody>
            </p:sp>
          </p:grpSp>
          <p:grpSp>
            <p:nvGrpSpPr>
              <p:cNvPr id="79" name="Graphic 1">
                <a:extLst>
                  <a:ext uri="{FF2B5EF4-FFF2-40B4-BE49-F238E27FC236}">
                    <a16:creationId xmlns:a16="http://schemas.microsoft.com/office/drawing/2014/main" id="{6186F850-D5C3-4026-AB18-EAAD835212F9}"/>
                  </a:ext>
                </a:extLst>
              </p:cNvPr>
              <p:cNvGrpSpPr/>
              <p:nvPr/>
            </p:nvGrpSpPr>
            <p:grpSpPr>
              <a:xfrm>
                <a:off x="1337857" y="4336529"/>
                <a:ext cx="145293" cy="145293"/>
                <a:chOff x="6459023" y="3459120"/>
                <a:chExt cx="351112" cy="351112"/>
              </a:xfrm>
              <a:noFill/>
            </p:grpSpPr>
            <p:sp>
              <p:nvSpPr>
                <p:cNvPr id="80" name="Freeform: Shape 2070">
                  <a:extLst>
                    <a:ext uri="{FF2B5EF4-FFF2-40B4-BE49-F238E27FC236}">
                      <a16:creationId xmlns:a16="http://schemas.microsoft.com/office/drawing/2014/main" id="{EF37470B-DFDB-4D6B-8698-E81C951B57CA}"/>
                    </a:ext>
                  </a:extLst>
                </p:cNvPr>
                <p:cNvSpPr/>
                <p:nvPr/>
              </p:nvSpPr>
              <p:spPr>
                <a:xfrm>
                  <a:off x="6459023" y="3459120"/>
                  <a:ext cx="351112" cy="351112"/>
                </a:xfrm>
                <a:custGeom>
                  <a:avLst/>
                  <a:gdLst>
                    <a:gd name="connsiteX0" fmla="*/ 351113 w 351112"/>
                    <a:gd name="connsiteY0" fmla="*/ 201364 h 351112"/>
                    <a:gd name="connsiteX1" fmla="*/ 351113 w 351112"/>
                    <a:gd name="connsiteY1" fmla="*/ 151023 h 351112"/>
                    <a:gd name="connsiteX2" fmla="*/ 315428 w 351112"/>
                    <a:gd name="connsiteY2" fmla="*/ 151023 h 351112"/>
                    <a:gd name="connsiteX3" fmla="*/ 292488 w 351112"/>
                    <a:gd name="connsiteY3" fmla="*/ 94947 h 351112"/>
                    <a:gd name="connsiteX4" fmla="*/ 317977 w 351112"/>
                    <a:gd name="connsiteY4" fmla="*/ 69458 h 351112"/>
                    <a:gd name="connsiteX5" fmla="*/ 282292 w 351112"/>
                    <a:gd name="connsiteY5" fmla="*/ 33773 h 351112"/>
                    <a:gd name="connsiteX6" fmla="*/ 256803 w 351112"/>
                    <a:gd name="connsiteY6" fmla="*/ 59262 h 351112"/>
                    <a:gd name="connsiteX7" fmla="*/ 200727 w 351112"/>
                    <a:gd name="connsiteY7" fmla="*/ 36322 h 351112"/>
                    <a:gd name="connsiteX8" fmla="*/ 200727 w 351112"/>
                    <a:gd name="connsiteY8" fmla="*/ 0 h 351112"/>
                    <a:gd name="connsiteX9" fmla="*/ 150386 w 351112"/>
                    <a:gd name="connsiteY9" fmla="*/ 0 h 351112"/>
                    <a:gd name="connsiteX10" fmla="*/ 150386 w 351112"/>
                    <a:gd name="connsiteY10" fmla="*/ 35685 h 351112"/>
                    <a:gd name="connsiteX11" fmla="*/ 94310 w 351112"/>
                    <a:gd name="connsiteY11" fmla="*/ 58625 h 351112"/>
                    <a:gd name="connsiteX12" fmla="*/ 68821 w 351112"/>
                    <a:gd name="connsiteY12" fmla="*/ 33136 h 351112"/>
                    <a:gd name="connsiteX13" fmla="*/ 33136 w 351112"/>
                    <a:gd name="connsiteY13" fmla="*/ 68821 h 351112"/>
                    <a:gd name="connsiteX14" fmla="*/ 58625 w 351112"/>
                    <a:gd name="connsiteY14" fmla="*/ 94310 h 351112"/>
                    <a:gd name="connsiteX15" fmla="*/ 35685 w 351112"/>
                    <a:gd name="connsiteY15" fmla="*/ 150386 h 351112"/>
                    <a:gd name="connsiteX16" fmla="*/ 0 w 351112"/>
                    <a:gd name="connsiteY16" fmla="*/ 150386 h 351112"/>
                    <a:gd name="connsiteX17" fmla="*/ 0 w 351112"/>
                    <a:gd name="connsiteY17" fmla="*/ 200727 h 351112"/>
                    <a:gd name="connsiteX18" fmla="*/ 35685 w 351112"/>
                    <a:gd name="connsiteY18" fmla="*/ 200727 h 351112"/>
                    <a:gd name="connsiteX19" fmla="*/ 58625 w 351112"/>
                    <a:gd name="connsiteY19" fmla="*/ 256803 h 351112"/>
                    <a:gd name="connsiteX20" fmla="*/ 33136 w 351112"/>
                    <a:gd name="connsiteY20" fmla="*/ 282292 h 351112"/>
                    <a:gd name="connsiteX21" fmla="*/ 68821 w 351112"/>
                    <a:gd name="connsiteY21" fmla="*/ 317977 h 351112"/>
                    <a:gd name="connsiteX22" fmla="*/ 94310 w 351112"/>
                    <a:gd name="connsiteY22" fmla="*/ 292488 h 351112"/>
                    <a:gd name="connsiteX23" fmla="*/ 150386 w 351112"/>
                    <a:gd name="connsiteY23" fmla="*/ 315428 h 351112"/>
                    <a:gd name="connsiteX24" fmla="*/ 150386 w 351112"/>
                    <a:gd name="connsiteY24" fmla="*/ 351113 h 351112"/>
                    <a:gd name="connsiteX25" fmla="*/ 200727 w 351112"/>
                    <a:gd name="connsiteY25" fmla="*/ 351113 h 351112"/>
                    <a:gd name="connsiteX26" fmla="*/ 200727 w 351112"/>
                    <a:gd name="connsiteY26" fmla="*/ 315428 h 351112"/>
                    <a:gd name="connsiteX27" fmla="*/ 256803 w 351112"/>
                    <a:gd name="connsiteY27" fmla="*/ 292488 h 351112"/>
                    <a:gd name="connsiteX28" fmla="*/ 282292 w 351112"/>
                    <a:gd name="connsiteY28" fmla="*/ 317977 h 351112"/>
                    <a:gd name="connsiteX29" fmla="*/ 317977 w 351112"/>
                    <a:gd name="connsiteY29" fmla="*/ 282292 h 351112"/>
                    <a:gd name="connsiteX30" fmla="*/ 292488 w 351112"/>
                    <a:gd name="connsiteY30" fmla="*/ 256803 h 351112"/>
                    <a:gd name="connsiteX31" fmla="*/ 315428 w 351112"/>
                    <a:gd name="connsiteY31" fmla="*/ 200727 h 351112"/>
                    <a:gd name="connsiteX32" fmla="*/ 351113 w 351112"/>
                    <a:gd name="connsiteY32" fmla="*/ 200727 h 351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351112" h="351112">
                      <a:moveTo>
                        <a:pt x="351113" y="201364"/>
                      </a:moveTo>
                      <a:lnTo>
                        <a:pt x="351113" y="151023"/>
                      </a:lnTo>
                      <a:lnTo>
                        <a:pt x="315428" y="151023"/>
                      </a:lnTo>
                      <a:cubicBezTo>
                        <a:pt x="311604" y="130632"/>
                        <a:pt x="303958" y="111515"/>
                        <a:pt x="292488" y="94947"/>
                      </a:cubicBezTo>
                      <a:lnTo>
                        <a:pt x="317977" y="69458"/>
                      </a:lnTo>
                      <a:lnTo>
                        <a:pt x="282292" y="33773"/>
                      </a:lnTo>
                      <a:lnTo>
                        <a:pt x="256803" y="59262"/>
                      </a:lnTo>
                      <a:cubicBezTo>
                        <a:pt x="240235" y="47792"/>
                        <a:pt x="221118" y="39508"/>
                        <a:pt x="200727" y="36322"/>
                      </a:cubicBezTo>
                      <a:lnTo>
                        <a:pt x="200727" y="0"/>
                      </a:lnTo>
                      <a:lnTo>
                        <a:pt x="150386" y="0"/>
                      </a:lnTo>
                      <a:lnTo>
                        <a:pt x="150386" y="35685"/>
                      </a:lnTo>
                      <a:cubicBezTo>
                        <a:pt x="129994" y="39508"/>
                        <a:pt x="110878" y="47155"/>
                        <a:pt x="94310" y="58625"/>
                      </a:cubicBezTo>
                      <a:lnTo>
                        <a:pt x="68821" y="33136"/>
                      </a:lnTo>
                      <a:lnTo>
                        <a:pt x="33136" y="68821"/>
                      </a:lnTo>
                      <a:lnTo>
                        <a:pt x="58625" y="94310"/>
                      </a:lnTo>
                      <a:cubicBezTo>
                        <a:pt x="47155" y="110878"/>
                        <a:pt x="38871" y="129994"/>
                        <a:pt x="35685" y="150386"/>
                      </a:cubicBezTo>
                      <a:lnTo>
                        <a:pt x="0" y="150386"/>
                      </a:lnTo>
                      <a:lnTo>
                        <a:pt x="0" y="200727"/>
                      </a:lnTo>
                      <a:lnTo>
                        <a:pt x="35685" y="200727"/>
                      </a:lnTo>
                      <a:cubicBezTo>
                        <a:pt x="39508" y="221118"/>
                        <a:pt x="47155" y="240235"/>
                        <a:pt x="58625" y="256803"/>
                      </a:cubicBezTo>
                      <a:lnTo>
                        <a:pt x="33136" y="282292"/>
                      </a:lnTo>
                      <a:lnTo>
                        <a:pt x="68821" y="317977"/>
                      </a:lnTo>
                      <a:lnTo>
                        <a:pt x="94310" y="292488"/>
                      </a:lnTo>
                      <a:cubicBezTo>
                        <a:pt x="110878" y="303958"/>
                        <a:pt x="129994" y="312242"/>
                        <a:pt x="150386" y="315428"/>
                      </a:cubicBezTo>
                      <a:lnTo>
                        <a:pt x="150386" y="351113"/>
                      </a:lnTo>
                      <a:lnTo>
                        <a:pt x="200727" y="351113"/>
                      </a:lnTo>
                      <a:lnTo>
                        <a:pt x="200727" y="315428"/>
                      </a:lnTo>
                      <a:cubicBezTo>
                        <a:pt x="221118" y="311604"/>
                        <a:pt x="240235" y="303958"/>
                        <a:pt x="256803" y="292488"/>
                      </a:cubicBezTo>
                      <a:lnTo>
                        <a:pt x="282292" y="317977"/>
                      </a:lnTo>
                      <a:lnTo>
                        <a:pt x="317977" y="282292"/>
                      </a:lnTo>
                      <a:lnTo>
                        <a:pt x="292488" y="256803"/>
                      </a:lnTo>
                      <a:cubicBezTo>
                        <a:pt x="303958" y="240235"/>
                        <a:pt x="312242" y="221118"/>
                        <a:pt x="315428" y="200727"/>
                      </a:cubicBezTo>
                      <a:lnTo>
                        <a:pt x="351113" y="200727"/>
                      </a:lnTo>
                      <a:close/>
                    </a:path>
                  </a:pathLst>
                </a:custGeom>
                <a:noFill/>
                <a:ln w="6350" cap="flat">
                  <a:solidFill>
                    <a:sysClr val="window" lastClr="FFFFFF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s-ES" kern="0">
                    <a:solidFill>
                      <a:prstClr val="black"/>
                    </a:solidFill>
                    <a:latin typeface="Segoe UI Light"/>
                  </a:endParaRPr>
                </a:p>
              </p:txBody>
            </p:sp>
            <p:sp>
              <p:nvSpPr>
                <p:cNvPr id="81" name="Freeform: Shape 2071">
                  <a:extLst>
                    <a:ext uri="{FF2B5EF4-FFF2-40B4-BE49-F238E27FC236}">
                      <a16:creationId xmlns:a16="http://schemas.microsoft.com/office/drawing/2014/main" id="{A753DA12-75A6-4A23-A270-3F551070EF8A}"/>
                    </a:ext>
                  </a:extLst>
                </p:cNvPr>
                <p:cNvSpPr/>
                <p:nvPr/>
              </p:nvSpPr>
              <p:spPr>
                <a:xfrm>
                  <a:off x="6533578" y="3534313"/>
                  <a:ext cx="201363" cy="201363"/>
                </a:xfrm>
                <a:custGeom>
                  <a:avLst/>
                  <a:gdLst>
                    <a:gd name="connsiteX0" fmla="*/ 201364 w 201363"/>
                    <a:gd name="connsiteY0" fmla="*/ 100682 h 201363"/>
                    <a:gd name="connsiteX1" fmla="*/ 100682 w 201363"/>
                    <a:gd name="connsiteY1" fmla="*/ 201364 h 201363"/>
                    <a:gd name="connsiteX2" fmla="*/ 0 w 201363"/>
                    <a:gd name="connsiteY2" fmla="*/ 100682 h 201363"/>
                    <a:gd name="connsiteX3" fmla="*/ 100682 w 201363"/>
                    <a:gd name="connsiteY3" fmla="*/ 0 h 201363"/>
                    <a:gd name="connsiteX4" fmla="*/ 201364 w 201363"/>
                    <a:gd name="connsiteY4" fmla="*/ 100682 h 201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1363" h="201363">
                      <a:moveTo>
                        <a:pt x="201364" y="100682"/>
                      </a:moveTo>
                      <a:cubicBezTo>
                        <a:pt x="201364" y="156287"/>
                        <a:pt x="156287" y="201364"/>
                        <a:pt x="100682" y="201364"/>
                      </a:cubicBezTo>
                      <a:cubicBezTo>
                        <a:pt x="45077" y="201364"/>
                        <a:pt x="0" y="156287"/>
                        <a:pt x="0" y="100682"/>
                      </a:cubicBezTo>
                      <a:cubicBezTo>
                        <a:pt x="0" y="45077"/>
                        <a:pt x="45077" y="0"/>
                        <a:pt x="100682" y="0"/>
                      </a:cubicBezTo>
                      <a:cubicBezTo>
                        <a:pt x="156287" y="0"/>
                        <a:pt x="201364" y="45077"/>
                        <a:pt x="201364" y="100682"/>
                      </a:cubicBezTo>
                      <a:close/>
                    </a:path>
                  </a:pathLst>
                </a:custGeom>
                <a:noFill/>
                <a:ln w="6350" cap="flat">
                  <a:solidFill>
                    <a:sysClr val="window" lastClr="FFFFFF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>
                    <a:defRPr/>
                  </a:pPr>
                  <a:endParaRPr lang="es-ES" kern="0">
                    <a:solidFill>
                      <a:prstClr val="black"/>
                    </a:solidFill>
                    <a:latin typeface="Segoe UI Light"/>
                  </a:endParaRPr>
                </a:p>
              </p:txBody>
            </p:sp>
          </p:grpSp>
        </p:grpSp>
      </p:grp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D91C33E-EB78-4B93-8972-8A6DA4832C0C}"/>
              </a:ext>
            </a:extLst>
          </p:cNvPr>
          <p:cNvSpPr txBox="1">
            <a:spLocks/>
          </p:cNvSpPr>
          <p:nvPr/>
        </p:nvSpPr>
        <p:spPr>
          <a:xfrm>
            <a:off x="2224793" y="3933308"/>
            <a:ext cx="6283466" cy="649480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chemeClr val="hlink"/>
              </a:buClr>
              <a:buFont typeface="Wingdings" pitchFamily="2" charset="2"/>
              <a:buNone/>
              <a:defRPr sz="100">
                <a:solidFill>
                  <a:schemeClr val="bg1">
                    <a:lumMod val="95000"/>
                    <a:alpha val="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195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80959F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6286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8953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16840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6256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828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400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972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4ABDF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00" b="0" i="0" u="none" strike="noStrike" kern="0" cap="none" spc="0" normalizeH="0" baseline="0" noProof="0">
                <a:ln>
                  <a:noFill/>
                </a:ln>
                <a:solidFill>
                  <a:sysClr val="window" lastClr="FFFFFF">
                    <a:lumMod val="95000"/>
                    <a:alpha val="0"/>
                  </a:sys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.</a:t>
            </a:r>
            <a:endParaRPr kumimoji="0" lang="en-US" sz="100" b="0" i="0" u="none" strike="noStrike" kern="0" cap="none" spc="0" normalizeH="0" baseline="0" noProof="0" dirty="0">
              <a:ln>
                <a:noFill/>
              </a:ln>
              <a:solidFill>
                <a:sysClr val="window" lastClr="FFFFFF">
                  <a:lumMod val="95000"/>
                  <a:alpha val="0"/>
                </a:sys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</p:txBody>
      </p:sp>
      <p:sp>
        <p:nvSpPr>
          <p:cNvPr id="58" name="CuadroTexto 57"/>
          <p:cNvSpPr txBox="1"/>
          <p:nvPr/>
        </p:nvSpPr>
        <p:spPr>
          <a:xfrm>
            <a:off x="2304438" y="3075261"/>
            <a:ext cx="61641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u="heavy" dirty="0">
                <a:solidFill>
                  <a:schemeClr val="tx1">
                    <a:lumMod val="50000"/>
                    <a:lumOff val="50000"/>
                  </a:schemeClr>
                </a:solidFill>
                <a:uFill>
                  <a:solidFill>
                    <a:srgbClr val="FF0000"/>
                  </a:solidFill>
                </a:uFill>
                <a:latin typeface="Calibri" pitchFamily="34" charset="0"/>
              </a:rPr>
              <a:t>Palancas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para contrarrestar el impacto del envejecimiento</a:t>
            </a:r>
          </a:p>
        </p:txBody>
      </p:sp>
      <p:grpSp>
        <p:nvGrpSpPr>
          <p:cNvPr id="64" name="Group 1360">
            <a:extLst>
              <a:ext uri="{FF2B5EF4-FFF2-40B4-BE49-F238E27FC236}">
                <a16:creationId xmlns:a16="http://schemas.microsoft.com/office/drawing/2014/main" id="{1B05C8F7-251E-4059-A501-40453F420F73}"/>
              </a:ext>
            </a:extLst>
          </p:cNvPr>
          <p:cNvGrpSpPr/>
          <p:nvPr/>
        </p:nvGrpSpPr>
        <p:grpSpPr>
          <a:xfrm>
            <a:off x="1553373" y="3940539"/>
            <a:ext cx="479960" cy="485449"/>
            <a:chOff x="8286843" y="5831842"/>
            <a:chExt cx="387672" cy="387672"/>
          </a:xfrm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grpSpPr>
        <p:sp>
          <p:nvSpPr>
            <p:cNvPr id="65" name="Oval 1361">
              <a:extLst>
                <a:ext uri="{FF2B5EF4-FFF2-40B4-BE49-F238E27FC236}">
                  <a16:creationId xmlns:a16="http://schemas.microsoft.com/office/drawing/2014/main" id="{B1FFE7FF-DE24-497A-AA27-724D023166AE}"/>
                </a:ext>
              </a:extLst>
            </p:cNvPr>
            <p:cNvSpPr/>
            <p:nvPr/>
          </p:nvSpPr>
          <p:spPr>
            <a:xfrm>
              <a:off x="8286843" y="5831842"/>
              <a:ext cx="387672" cy="387672"/>
            </a:xfrm>
            <a:prstGeom prst="ellipse">
              <a:avLst/>
            </a:prstGeom>
            <a:solidFill>
              <a:srgbClr val="4ABDF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grpSp>
          <p:nvGrpSpPr>
            <p:cNvPr id="66" name="Graphic 580">
              <a:extLst>
                <a:ext uri="{FF2B5EF4-FFF2-40B4-BE49-F238E27FC236}">
                  <a16:creationId xmlns:a16="http://schemas.microsoft.com/office/drawing/2014/main" id="{4C20A0C6-6DCB-465C-B008-E55267273E29}"/>
                </a:ext>
              </a:extLst>
            </p:cNvPr>
            <p:cNvGrpSpPr/>
            <p:nvPr/>
          </p:nvGrpSpPr>
          <p:grpSpPr>
            <a:xfrm>
              <a:off x="8394690" y="5943532"/>
              <a:ext cx="168490" cy="168490"/>
              <a:chOff x="5775172" y="4201544"/>
              <a:chExt cx="320748" cy="320748"/>
            </a:xfrm>
            <a:noFill/>
          </p:grpSpPr>
          <p:sp>
            <p:nvSpPr>
              <p:cNvPr id="102" name="Freeform: Shape 1363">
                <a:extLst>
                  <a:ext uri="{FF2B5EF4-FFF2-40B4-BE49-F238E27FC236}">
                    <a16:creationId xmlns:a16="http://schemas.microsoft.com/office/drawing/2014/main" id="{89B68D5D-50F2-44E1-8C39-435083A45A7C}"/>
                  </a:ext>
                </a:extLst>
              </p:cNvPr>
              <p:cNvSpPr/>
              <p:nvPr/>
            </p:nvSpPr>
            <p:spPr>
              <a:xfrm>
                <a:off x="5823982" y="4201544"/>
                <a:ext cx="271938" cy="251020"/>
              </a:xfrm>
              <a:custGeom>
                <a:avLst/>
                <a:gdLst>
                  <a:gd name="connsiteX0" fmla="*/ 271939 w 271938"/>
                  <a:gd name="connsiteY0" fmla="*/ 0 h 251020"/>
                  <a:gd name="connsiteX1" fmla="*/ 69728 w 271938"/>
                  <a:gd name="connsiteY1" fmla="*/ 251021 h 251020"/>
                  <a:gd name="connsiteX2" fmla="*/ 0 w 271938"/>
                  <a:gd name="connsiteY2" fmla="*/ 181293 h 251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1938" h="251020">
                    <a:moveTo>
                      <a:pt x="271939" y="0"/>
                    </a:moveTo>
                    <a:lnTo>
                      <a:pt x="69728" y="251021"/>
                    </a:lnTo>
                    <a:lnTo>
                      <a:pt x="0" y="181293"/>
                    </a:lnTo>
                  </a:path>
                </a:pathLst>
              </a:custGeom>
              <a:noFill/>
              <a:ln w="6350" cap="flat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endParaRPr>
              </a:p>
            </p:txBody>
          </p:sp>
          <p:sp>
            <p:nvSpPr>
              <p:cNvPr id="103" name="Freeform: Shape 1364">
                <a:extLst>
                  <a:ext uri="{FF2B5EF4-FFF2-40B4-BE49-F238E27FC236}">
                    <a16:creationId xmlns:a16="http://schemas.microsoft.com/office/drawing/2014/main" id="{85FFCB68-7848-4556-B4C8-8D940BB8792D}"/>
                  </a:ext>
                </a:extLst>
              </p:cNvPr>
              <p:cNvSpPr/>
              <p:nvPr/>
            </p:nvSpPr>
            <p:spPr>
              <a:xfrm>
                <a:off x="5775172" y="4271272"/>
                <a:ext cx="251020" cy="251020"/>
              </a:xfrm>
              <a:custGeom>
                <a:avLst/>
                <a:gdLst>
                  <a:gd name="connsiteX0" fmla="*/ 248231 w 251020"/>
                  <a:gd name="connsiteY0" fmla="*/ 97619 h 251020"/>
                  <a:gd name="connsiteX1" fmla="*/ 251021 w 251020"/>
                  <a:gd name="connsiteY1" fmla="*/ 125510 h 251020"/>
                  <a:gd name="connsiteX2" fmla="*/ 125510 w 251020"/>
                  <a:gd name="connsiteY2" fmla="*/ 251021 h 251020"/>
                  <a:gd name="connsiteX3" fmla="*/ 0 w 251020"/>
                  <a:gd name="connsiteY3" fmla="*/ 125510 h 251020"/>
                  <a:gd name="connsiteX4" fmla="*/ 125510 w 251020"/>
                  <a:gd name="connsiteY4" fmla="*/ 0 h 251020"/>
                  <a:gd name="connsiteX5" fmla="*/ 181293 w 251020"/>
                  <a:gd name="connsiteY5" fmla="*/ 12551 h 251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1020" h="251020">
                    <a:moveTo>
                      <a:pt x="248231" y="97619"/>
                    </a:moveTo>
                    <a:cubicBezTo>
                      <a:pt x="249626" y="105986"/>
                      <a:pt x="251021" y="115748"/>
                      <a:pt x="251021" y="125510"/>
                    </a:cubicBezTo>
                    <a:cubicBezTo>
                      <a:pt x="251021" y="195238"/>
                      <a:pt x="195238" y="251021"/>
                      <a:pt x="125510" y="251021"/>
                    </a:cubicBezTo>
                    <a:cubicBezTo>
                      <a:pt x="55782" y="251021"/>
                      <a:pt x="0" y="195238"/>
                      <a:pt x="0" y="125510"/>
                    </a:cubicBezTo>
                    <a:cubicBezTo>
                      <a:pt x="0" y="55782"/>
                      <a:pt x="55782" y="0"/>
                      <a:pt x="125510" y="0"/>
                    </a:cubicBezTo>
                    <a:cubicBezTo>
                      <a:pt x="145034" y="0"/>
                      <a:pt x="164558" y="4184"/>
                      <a:pt x="181293" y="12551"/>
                    </a:cubicBezTo>
                  </a:path>
                </a:pathLst>
              </a:custGeom>
              <a:noFill/>
              <a:ln w="6350" cap="flat">
                <a:solidFill>
                  <a:sysClr val="window" lastClr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 Light"/>
                </a:endParaRPr>
              </a:p>
            </p:txBody>
          </p:sp>
        </p:grpSp>
      </p:grp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CD91C33E-EB78-4B93-8972-8A6DA4832C0C}"/>
              </a:ext>
            </a:extLst>
          </p:cNvPr>
          <p:cNvSpPr txBox="1">
            <a:spLocks/>
          </p:cNvSpPr>
          <p:nvPr/>
        </p:nvSpPr>
        <p:spPr>
          <a:xfrm>
            <a:off x="2310545" y="2193583"/>
            <a:ext cx="6243774" cy="535256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/>
          <a:lstStyle>
            <a:lvl1pPr marL="0" indent="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chemeClr val="hlink"/>
              </a:buClr>
              <a:buFont typeface="Wingdings" pitchFamily="2" charset="2"/>
              <a:buNone/>
              <a:defRPr sz="100">
                <a:solidFill>
                  <a:schemeClr val="bg1">
                    <a:lumMod val="95000"/>
                    <a:alpha val="0"/>
                  </a:schemeClr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195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80959F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6286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8953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16840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6256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828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400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972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4ABDF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00" b="0" i="0" u="none" strike="noStrike" kern="0" cap="none" spc="0" normalizeH="0" baseline="0" noProof="0">
                <a:ln>
                  <a:noFill/>
                </a:ln>
                <a:solidFill>
                  <a:sysClr val="window" lastClr="FFFFFF">
                    <a:lumMod val="95000"/>
                    <a:alpha val="0"/>
                  </a:sys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.</a:t>
            </a:r>
            <a:endParaRPr kumimoji="0" lang="en-US" sz="100" b="0" i="0" u="none" strike="noStrike" kern="0" cap="none" spc="0" normalizeH="0" baseline="0" noProof="0" dirty="0">
              <a:ln>
                <a:noFill/>
              </a:ln>
              <a:solidFill>
                <a:sysClr val="window" lastClr="FFFFFF">
                  <a:lumMod val="95000"/>
                  <a:alpha val="0"/>
                </a:sys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</p:txBody>
      </p:sp>
      <p:sp>
        <p:nvSpPr>
          <p:cNvPr id="105" name="CuadroTexto 104"/>
          <p:cNvSpPr txBox="1"/>
          <p:nvPr/>
        </p:nvSpPr>
        <p:spPr>
          <a:xfrm>
            <a:off x="2327405" y="2282719"/>
            <a:ext cx="61641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Impacto económico vía </a:t>
            </a:r>
            <a:r>
              <a:rPr lang="es-ES" u="heavy" dirty="0">
                <a:solidFill>
                  <a:schemeClr val="tx1">
                    <a:lumMod val="50000"/>
                    <a:lumOff val="50000"/>
                  </a:schemeClr>
                </a:solidFill>
                <a:uFill>
                  <a:solidFill>
                    <a:srgbClr val="FF0000"/>
                  </a:solidFill>
                </a:uFill>
                <a:latin typeface="Calibri" pitchFamily="34" charset="0"/>
              </a:rPr>
              <a:t>fuerza laboral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uFill>
                  <a:solidFill>
                    <a:srgbClr val="FF0000"/>
                  </a:solidFill>
                </a:uFill>
                <a:latin typeface="Calibri" pitchFamily="34" charset="0"/>
              </a:rPr>
              <a:t> 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y vía </a:t>
            </a:r>
            <a:r>
              <a:rPr lang="es-ES" u="heavy" dirty="0">
                <a:solidFill>
                  <a:schemeClr val="tx1">
                    <a:lumMod val="50000"/>
                    <a:lumOff val="50000"/>
                  </a:schemeClr>
                </a:solidFill>
                <a:uFill>
                  <a:solidFill>
                    <a:srgbClr val="FF0000"/>
                  </a:solidFill>
                </a:uFill>
                <a:latin typeface="Calibri" pitchFamily="34" charset="0"/>
              </a:rPr>
              <a:t>productividad</a:t>
            </a:r>
          </a:p>
        </p:txBody>
      </p:sp>
      <p:grpSp>
        <p:nvGrpSpPr>
          <p:cNvPr id="115" name="Group 2174">
            <a:extLst>
              <a:ext uri="{FF2B5EF4-FFF2-40B4-BE49-F238E27FC236}">
                <a16:creationId xmlns:a16="http://schemas.microsoft.com/office/drawing/2014/main" id="{56C5B77F-7332-454B-9DDF-0572F129DA4B}"/>
              </a:ext>
            </a:extLst>
          </p:cNvPr>
          <p:cNvGrpSpPr/>
          <p:nvPr/>
        </p:nvGrpSpPr>
        <p:grpSpPr>
          <a:xfrm>
            <a:off x="1537979" y="1451233"/>
            <a:ext cx="504000" cy="504000"/>
            <a:chOff x="10718234" y="3679027"/>
            <a:chExt cx="504000" cy="504000"/>
          </a:xfrm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grpSpPr>
        <p:sp>
          <p:nvSpPr>
            <p:cNvPr id="116" name="Oval 2175">
              <a:extLst>
                <a:ext uri="{FF2B5EF4-FFF2-40B4-BE49-F238E27FC236}">
                  <a16:creationId xmlns:a16="http://schemas.microsoft.com/office/drawing/2014/main" id="{60651398-01EC-4006-9042-9986C0F9F347}"/>
                </a:ext>
              </a:extLst>
            </p:cNvPr>
            <p:cNvSpPr/>
            <p:nvPr/>
          </p:nvSpPr>
          <p:spPr>
            <a:xfrm>
              <a:off x="10718234" y="3679027"/>
              <a:ext cx="504000" cy="504000"/>
            </a:xfrm>
            <a:prstGeom prst="ellipse">
              <a:avLst/>
            </a:prstGeom>
            <a:solidFill>
              <a:srgbClr val="4ABD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solidFill>
                  <a:prstClr val="white"/>
                </a:solidFill>
              </a:endParaRPr>
            </a:p>
          </p:txBody>
        </p:sp>
        <p:grpSp>
          <p:nvGrpSpPr>
            <p:cNvPr id="117" name="Graphic 1493">
              <a:extLst>
                <a:ext uri="{FF2B5EF4-FFF2-40B4-BE49-F238E27FC236}">
                  <a16:creationId xmlns:a16="http://schemas.microsoft.com/office/drawing/2014/main" id="{2989F7A3-04A8-4D86-83FC-7718C2D6C329}"/>
                </a:ext>
              </a:extLst>
            </p:cNvPr>
            <p:cNvGrpSpPr/>
            <p:nvPr/>
          </p:nvGrpSpPr>
          <p:grpSpPr>
            <a:xfrm>
              <a:off x="10822038" y="3764294"/>
              <a:ext cx="251553" cy="328542"/>
              <a:chOff x="10792630" y="3710568"/>
              <a:chExt cx="339051" cy="442826"/>
            </a:xfrm>
            <a:noFill/>
          </p:grpSpPr>
          <p:grpSp>
            <p:nvGrpSpPr>
              <p:cNvPr id="118" name="Graphic 1493">
                <a:extLst>
                  <a:ext uri="{FF2B5EF4-FFF2-40B4-BE49-F238E27FC236}">
                    <a16:creationId xmlns:a16="http://schemas.microsoft.com/office/drawing/2014/main" id="{B0A49F7F-0C0C-4AB6-A87F-A7F67BC8A44E}"/>
                  </a:ext>
                </a:extLst>
              </p:cNvPr>
              <p:cNvGrpSpPr/>
              <p:nvPr/>
            </p:nvGrpSpPr>
            <p:grpSpPr>
              <a:xfrm>
                <a:off x="10840549" y="3765212"/>
                <a:ext cx="291132" cy="388182"/>
                <a:chOff x="10840549" y="3765212"/>
                <a:chExt cx="291132" cy="388182"/>
              </a:xfrm>
              <a:noFill/>
            </p:grpSpPr>
            <p:sp>
              <p:nvSpPr>
                <p:cNvPr id="126" name="Freeform: Shape 2185">
                  <a:extLst>
                    <a:ext uri="{FF2B5EF4-FFF2-40B4-BE49-F238E27FC236}">
                      <a16:creationId xmlns:a16="http://schemas.microsoft.com/office/drawing/2014/main" id="{8EA65190-AD2D-4AC7-A730-96B4B40846B9}"/>
                    </a:ext>
                  </a:extLst>
                </p:cNvPr>
                <p:cNvSpPr/>
                <p:nvPr/>
              </p:nvSpPr>
              <p:spPr>
                <a:xfrm>
                  <a:off x="10888275" y="3853694"/>
                  <a:ext cx="54751" cy="25444"/>
                </a:xfrm>
                <a:custGeom>
                  <a:avLst/>
                  <a:gdLst>
                    <a:gd name="connsiteX0" fmla="*/ 54752 w 54751"/>
                    <a:gd name="connsiteY0" fmla="*/ 0 h 25444"/>
                    <a:gd name="connsiteX1" fmla="*/ 27414 w 54751"/>
                    <a:gd name="connsiteY1" fmla="*/ 25445 h 25444"/>
                    <a:gd name="connsiteX2" fmla="*/ 0 w 54751"/>
                    <a:gd name="connsiteY2" fmla="*/ 0 h 254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51" h="25444">
                      <a:moveTo>
                        <a:pt x="54752" y="0"/>
                      </a:moveTo>
                      <a:lnTo>
                        <a:pt x="27414" y="25445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s-E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7" name="Freeform: Shape 2186">
                  <a:extLst>
                    <a:ext uri="{FF2B5EF4-FFF2-40B4-BE49-F238E27FC236}">
                      <a16:creationId xmlns:a16="http://schemas.microsoft.com/office/drawing/2014/main" id="{20AC462A-7DFD-46E0-A05A-E665AA5521AE}"/>
                    </a:ext>
                  </a:extLst>
                </p:cNvPr>
                <p:cNvSpPr/>
                <p:nvPr/>
              </p:nvSpPr>
              <p:spPr>
                <a:xfrm>
                  <a:off x="10915764" y="3881562"/>
                  <a:ext cx="7572" cy="20522"/>
                </a:xfrm>
                <a:custGeom>
                  <a:avLst/>
                  <a:gdLst>
                    <a:gd name="connsiteX0" fmla="*/ 0 w 7572"/>
                    <a:gd name="connsiteY0" fmla="*/ 0 h 20522"/>
                    <a:gd name="connsiteX1" fmla="*/ 0 w 7572"/>
                    <a:gd name="connsiteY1" fmla="*/ 20522 h 20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72" h="20522">
                      <a:moveTo>
                        <a:pt x="0" y="0"/>
                      </a:moveTo>
                      <a:lnTo>
                        <a:pt x="0" y="20522"/>
                      </a:lnTo>
                    </a:path>
                  </a:pathLst>
                </a:custGeom>
                <a:ln w="6350" cap="flat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s-ES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28" name="Graphic 1493">
                  <a:extLst>
                    <a:ext uri="{FF2B5EF4-FFF2-40B4-BE49-F238E27FC236}">
                      <a16:creationId xmlns:a16="http://schemas.microsoft.com/office/drawing/2014/main" id="{2611F222-57F5-47E1-B104-A3975EB6FE28}"/>
                    </a:ext>
                  </a:extLst>
                </p:cNvPr>
                <p:cNvGrpSpPr/>
                <p:nvPr/>
              </p:nvGrpSpPr>
              <p:grpSpPr>
                <a:xfrm>
                  <a:off x="10840549" y="3765212"/>
                  <a:ext cx="291132" cy="388182"/>
                  <a:chOff x="10840549" y="3765212"/>
                  <a:chExt cx="291132" cy="388182"/>
                </a:xfrm>
                <a:noFill/>
              </p:grpSpPr>
              <p:sp>
                <p:nvSpPr>
                  <p:cNvPr id="129" name="Freeform: Shape 2188">
                    <a:extLst>
                      <a:ext uri="{FF2B5EF4-FFF2-40B4-BE49-F238E27FC236}">
                        <a16:creationId xmlns:a16="http://schemas.microsoft.com/office/drawing/2014/main" id="{86F5C180-2205-49C5-B593-426A03373863}"/>
                      </a:ext>
                    </a:extLst>
                  </p:cNvPr>
                  <p:cNvSpPr/>
                  <p:nvPr/>
                </p:nvSpPr>
                <p:spPr>
                  <a:xfrm>
                    <a:off x="10881535" y="3922607"/>
                    <a:ext cx="68458" cy="7572"/>
                  </a:xfrm>
                  <a:custGeom>
                    <a:avLst/>
                    <a:gdLst>
                      <a:gd name="connsiteX0" fmla="*/ 0 w 68458"/>
                      <a:gd name="connsiteY0" fmla="*/ 0 h 7572"/>
                      <a:gd name="connsiteX1" fmla="*/ 68458 w 68458"/>
                      <a:gd name="connsiteY1" fmla="*/ 0 h 7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458" h="7572">
                        <a:moveTo>
                          <a:pt x="0" y="0"/>
                        </a:moveTo>
                        <a:lnTo>
                          <a:pt x="68458" y="0"/>
                        </a:lnTo>
                      </a:path>
                    </a:pathLst>
                  </a:custGeom>
                  <a:ln w="6350" cap="flat">
                    <a:solidFill>
                      <a:schemeClr val="bg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s-E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0" name="Freeform: Shape 2189">
                    <a:extLst>
                      <a:ext uri="{FF2B5EF4-FFF2-40B4-BE49-F238E27FC236}">
                        <a16:creationId xmlns:a16="http://schemas.microsoft.com/office/drawing/2014/main" id="{E6213B2D-DC2C-4D0F-BD75-F06361C61F75}"/>
                      </a:ext>
                    </a:extLst>
                  </p:cNvPr>
                  <p:cNvSpPr/>
                  <p:nvPr/>
                </p:nvSpPr>
                <p:spPr>
                  <a:xfrm>
                    <a:off x="10881535" y="3943129"/>
                    <a:ext cx="68458" cy="7572"/>
                  </a:xfrm>
                  <a:custGeom>
                    <a:avLst/>
                    <a:gdLst>
                      <a:gd name="connsiteX0" fmla="*/ 0 w 68458"/>
                      <a:gd name="connsiteY0" fmla="*/ 0 h 7572"/>
                      <a:gd name="connsiteX1" fmla="*/ 68458 w 68458"/>
                      <a:gd name="connsiteY1" fmla="*/ 0 h 7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458" h="7572">
                        <a:moveTo>
                          <a:pt x="0" y="0"/>
                        </a:moveTo>
                        <a:lnTo>
                          <a:pt x="68458" y="0"/>
                        </a:lnTo>
                      </a:path>
                    </a:pathLst>
                  </a:custGeom>
                  <a:ln w="6350" cap="flat">
                    <a:solidFill>
                      <a:schemeClr val="bg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s-E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1" name="Freeform: Shape 2190">
                    <a:extLst>
                      <a:ext uri="{FF2B5EF4-FFF2-40B4-BE49-F238E27FC236}">
                        <a16:creationId xmlns:a16="http://schemas.microsoft.com/office/drawing/2014/main" id="{B7C03E2A-2207-49E5-B4D2-D581F2B8FDF0}"/>
                      </a:ext>
                    </a:extLst>
                  </p:cNvPr>
                  <p:cNvSpPr/>
                  <p:nvPr/>
                </p:nvSpPr>
                <p:spPr>
                  <a:xfrm>
                    <a:off x="10881535" y="3963652"/>
                    <a:ext cx="68458" cy="7572"/>
                  </a:xfrm>
                  <a:custGeom>
                    <a:avLst/>
                    <a:gdLst>
                      <a:gd name="connsiteX0" fmla="*/ 0 w 68458"/>
                      <a:gd name="connsiteY0" fmla="*/ 0 h 7572"/>
                      <a:gd name="connsiteX1" fmla="*/ 68458 w 68458"/>
                      <a:gd name="connsiteY1" fmla="*/ 0 h 7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458" h="7572">
                        <a:moveTo>
                          <a:pt x="0" y="0"/>
                        </a:moveTo>
                        <a:lnTo>
                          <a:pt x="68458" y="0"/>
                        </a:lnTo>
                      </a:path>
                    </a:pathLst>
                  </a:custGeom>
                  <a:ln w="6350" cap="flat">
                    <a:solidFill>
                      <a:schemeClr val="bg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s-E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2" name="Freeform: Shape 2191">
                    <a:extLst>
                      <a:ext uri="{FF2B5EF4-FFF2-40B4-BE49-F238E27FC236}">
                        <a16:creationId xmlns:a16="http://schemas.microsoft.com/office/drawing/2014/main" id="{48B1A656-2933-43F6-A05D-3B50FD5C3884}"/>
                      </a:ext>
                    </a:extLst>
                  </p:cNvPr>
                  <p:cNvSpPr/>
                  <p:nvPr/>
                </p:nvSpPr>
                <p:spPr>
                  <a:xfrm>
                    <a:off x="10840549" y="3765212"/>
                    <a:ext cx="291132" cy="388182"/>
                  </a:xfrm>
                  <a:custGeom>
                    <a:avLst/>
                    <a:gdLst>
                      <a:gd name="connsiteX0" fmla="*/ 926 w 150564"/>
                      <a:gd name="connsiteY0" fmla="*/ 63339 h 232667"/>
                      <a:gd name="connsiteX1" fmla="*/ 16072 w 150564"/>
                      <a:gd name="connsiteY1" fmla="*/ 121725 h 232667"/>
                      <a:gd name="connsiteX2" fmla="*/ 41062 w 150564"/>
                      <a:gd name="connsiteY2" fmla="*/ 198287 h 232667"/>
                      <a:gd name="connsiteX3" fmla="*/ 41062 w 150564"/>
                      <a:gd name="connsiteY3" fmla="*/ 198438 h 232667"/>
                      <a:gd name="connsiteX4" fmla="*/ 75291 w 150564"/>
                      <a:gd name="connsiteY4" fmla="*/ 232667 h 232667"/>
                      <a:gd name="connsiteX5" fmla="*/ 75291 w 150564"/>
                      <a:gd name="connsiteY5" fmla="*/ 232667 h 232667"/>
                      <a:gd name="connsiteX6" fmla="*/ 109520 w 150564"/>
                      <a:gd name="connsiteY6" fmla="*/ 198438 h 232667"/>
                      <a:gd name="connsiteX7" fmla="*/ 109520 w 150564"/>
                      <a:gd name="connsiteY7" fmla="*/ 195030 h 232667"/>
                      <a:gd name="connsiteX8" fmla="*/ 135874 w 150564"/>
                      <a:gd name="connsiteY8" fmla="*/ 119832 h 232667"/>
                      <a:gd name="connsiteX9" fmla="*/ 150565 w 150564"/>
                      <a:gd name="connsiteY9" fmla="*/ 75228 h 232667"/>
                      <a:gd name="connsiteX10" fmla="*/ 66658 w 150564"/>
                      <a:gd name="connsiteY10" fmla="*/ 485 h 232667"/>
                      <a:gd name="connsiteX11" fmla="*/ 926 w 150564"/>
                      <a:gd name="connsiteY11" fmla="*/ 63339 h 2326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50564" h="232667">
                        <a:moveTo>
                          <a:pt x="926" y="63339"/>
                        </a:moveTo>
                        <a:cubicBezTo>
                          <a:pt x="-2482" y="85452"/>
                          <a:pt x="3728" y="106050"/>
                          <a:pt x="16072" y="121725"/>
                        </a:cubicBezTo>
                        <a:cubicBezTo>
                          <a:pt x="33110" y="143384"/>
                          <a:pt x="41062" y="170722"/>
                          <a:pt x="41062" y="198287"/>
                        </a:cubicBezTo>
                        <a:lnTo>
                          <a:pt x="41062" y="198438"/>
                        </a:lnTo>
                        <a:cubicBezTo>
                          <a:pt x="41062" y="217294"/>
                          <a:pt x="56359" y="232667"/>
                          <a:pt x="75291" y="232667"/>
                        </a:cubicBezTo>
                        <a:lnTo>
                          <a:pt x="75291" y="232667"/>
                        </a:lnTo>
                        <a:cubicBezTo>
                          <a:pt x="94147" y="232667"/>
                          <a:pt x="109520" y="217370"/>
                          <a:pt x="109520" y="198438"/>
                        </a:cubicBezTo>
                        <a:lnTo>
                          <a:pt x="109520" y="195030"/>
                        </a:lnTo>
                        <a:cubicBezTo>
                          <a:pt x="109520" y="167692"/>
                          <a:pt x="119668" y="141869"/>
                          <a:pt x="135874" y="119832"/>
                        </a:cubicBezTo>
                        <a:cubicBezTo>
                          <a:pt x="145113" y="107337"/>
                          <a:pt x="150565" y="91964"/>
                          <a:pt x="150565" y="75228"/>
                        </a:cubicBezTo>
                        <a:cubicBezTo>
                          <a:pt x="150565" y="30852"/>
                          <a:pt x="112095" y="-4589"/>
                          <a:pt x="66658" y="485"/>
                        </a:cubicBezTo>
                        <a:cubicBezTo>
                          <a:pt x="33413" y="4271"/>
                          <a:pt x="6000" y="30397"/>
                          <a:pt x="926" y="63339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bg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s-ES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sp>
            <p:nvSpPr>
              <p:cNvPr id="119" name="Freeform: Shape 2178">
                <a:extLst>
                  <a:ext uri="{FF2B5EF4-FFF2-40B4-BE49-F238E27FC236}">
                    <a16:creationId xmlns:a16="http://schemas.microsoft.com/office/drawing/2014/main" id="{0BE145B8-0F87-4D93-BF90-C12DB7CE9B66}"/>
                  </a:ext>
                </a:extLst>
              </p:cNvPr>
              <p:cNvSpPr/>
              <p:nvPr/>
            </p:nvSpPr>
            <p:spPr>
              <a:xfrm>
                <a:off x="10915764" y="3710568"/>
                <a:ext cx="7572" cy="20522"/>
              </a:xfrm>
              <a:custGeom>
                <a:avLst/>
                <a:gdLst>
                  <a:gd name="connsiteX0" fmla="*/ 0 w 7572"/>
                  <a:gd name="connsiteY0" fmla="*/ 0 h 20522"/>
                  <a:gd name="connsiteX1" fmla="*/ 0 w 7572"/>
                  <a:gd name="connsiteY1" fmla="*/ 20522 h 20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72" h="20522">
                    <a:moveTo>
                      <a:pt x="0" y="0"/>
                    </a:moveTo>
                    <a:lnTo>
                      <a:pt x="0" y="20522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: Shape 2179">
                <a:extLst>
                  <a:ext uri="{FF2B5EF4-FFF2-40B4-BE49-F238E27FC236}">
                    <a16:creationId xmlns:a16="http://schemas.microsoft.com/office/drawing/2014/main" id="{5A847F2A-D2FE-4A06-ABFD-A7655D968ABD}"/>
                  </a:ext>
                </a:extLst>
              </p:cNvPr>
              <p:cNvSpPr/>
              <p:nvPr/>
            </p:nvSpPr>
            <p:spPr>
              <a:xfrm>
                <a:off x="10792630" y="3840518"/>
                <a:ext cx="20522" cy="7572"/>
              </a:xfrm>
              <a:custGeom>
                <a:avLst/>
                <a:gdLst>
                  <a:gd name="connsiteX0" fmla="*/ 0 w 20522"/>
                  <a:gd name="connsiteY0" fmla="*/ 0 h 7572"/>
                  <a:gd name="connsiteX1" fmla="*/ 20522 w 20522"/>
                  <a:gd name="connsiteY1" fmla="*/ 0 h 7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522" h="7572">
                    <a:moveTo>
                      <a:pt x="0" y="0"/>
                    </a:moveTo>
                    <a:lnTo>
                      <a:pt x="20522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: Shape 2180">
                <a:extLst>
                  <a:ext uri="{FF2B5EF4-FFF2-40B4-BE49-F238E27FC236}">
                    <a16:creationId xmlns:a16="http://schemas.microsoft.com/office/drawing/2014/main" id="{DF54B3EE-9FDF-48BC-87AC-94E7B3FC1965}"/>
                  </a:ext>
                </a:extLst>
              </p:cNvPr>
              <p:cNvSpPr/>
              <p:nvPr/>
            </p:nvSpPr>
            <p:spPr>
              <a:xfrm>
                <a:off x="11018376" y="3840518"/>
                <a:ext cx="20522" cy="7572"/>
              </a:xfrm>
              <a:custGeom>
                <a:avLst/>
                <a:gdLst>
                  <a:gd name="connsiteX0" fmla="*/ 0 w 20522"/>
                  <a:gd name="connsiteY0" fmla="*/ 0 h 7572"/>
                  <a:gd name="connsiteX1" fmla="*/ 20522 w 20522"/>
                  <a:gd name="connsiteY1" fmla="*/ 0 h 7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522" h="7572">
                    <a:moveTo>
                      <a:pt x="0" y="0"/>
                    </a:moveTo>
                    <a:lnTo>
                      <a:pt x="20522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: Shape 2181">
                <a:extLst>
                  <a:ext uri="{FF2B5EF4-FFF2-40B4-BE49-F238E27FC236}">
                    <a16:creationId xmlns:a16="http://schemas.microsoft.com/office/drawing/2014/main" id="{434638C6-38C1-4222-BEE5-C33F236C8396}"/>
                  </a:ext>
                </a:extLst>
              </p:cNvPr>
              <p:cNvSpPr/>
              <p:nvPr/>
            </p:nvSpPr>
            <p:spPr>
              <a:xfrm>
                <a:off x="10826859" y="3908976"/>
                <a:ext cx="13631" cy="13631"/>
              </a:xfrm>
              <a:custGeom>
                <a:avLst/>
                <a:gdLst>
                  <a:gd name="connsiteX0" fmla="*/ 13631 w 13631"/>
                  <a:gd name="connsiteY0" fmla="*/ 0 h 13631"/>
                  <a:gd name="connsiteX1" fmla="*/ 0 w 13631"/>
                  <a:gd name="connsiteY1" fmla="*/ 13631 h 13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631" h="13631">
                    <a:moveTo>
                      <a:pt x="13631" y="0"/>
                    </a:moveTo>
                    <a:lnTo>
                      <a:pt x="0" y="13631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: Shape 2182">
                <a:extLst>
                  <a:ext uri="{FF2B5EF4-FFF2-40B4-BE49-F238E27FC236}">
                    <a16:creationId xmlns:a16="http://schemas.microsoft.com/office/drawing/2014/main" id="{8F44A583-F15F-4471-9456-019EB623C36D}"/>
                  </a:ext>
                </a:extLst>
              </p:cNvPr>
              <p:cNvSpPr/>
              <p:nvPr/>
            </p:nvSpPr>
            <p:spPr>
              <a:xfrm>
                <a:off x="10984147" y="3751613"/>
                <a:ext cx="13706" cy="13706"/>
              </a:xfrm>
              <a:custGeom>
                <a:avLst/>
                <a:gdLst>
                  <a:gd name="connsiteX0" fmla="*/ 13707 w 13706"/>
                  <a:gd name="connsiteY0" fmla="*/ 0 h 13706"/>
                  <a:gd name="connsiteX1" fmla="*/ 0 w 13706"/>
                  <a:gd name="connsiteY1" fmla="*/ 13707 h 13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706" h="13706">
                    <a:moveTo>
                      <a:pt x="13707" y="0"/>
                    </a:moveTo>
                    <a:lnTo>
                      <a:pt x="0" y="13707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: Shape 2183">
                <a:extLst>
                  <a:ext uri="{FF2B5EF4-FFF2-40B4-BE49-F238E27FC236}">
                    <a16:creationId xmlns:a16="http://schemas.microsoft.com/office/drawing/2014/main" id="{CC31B745-C4F3-43A2-B12D-1E66F1078858}"/>
                  </a:ext>
                </a:extLst>
              </p:cNvPr>
              <p:cNvSpPr/>
              <p:nvPr/>
            </p:nvSpPr>
            <p:spPr>
              <a:xfrm>
                <a:off x="10991038" y="3915791"/>
                <a:ext cx="13631" cy="13706"/>
              </a:xfrm>
              <a:custGeom>
                <a:avLst/>
                <a:gdLst>
                  <a:gd name="connsiteX0" fmla="*/ 0 w 13631"/>
                  <a:gd name="connsiteY0" fmla="*/ 0 h 13706"/>
                  <a:gd name="connsiteX1" fmla="*/ 13631 w 13631"/>
                  <a:gd name="connsiteY1" fmla="*/ 13707 h 13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631" h="13706">
                    <a:moveTo>
                      <a:pt x="0" y="0"/>
                    </a:moveTo>
                    <a:lnTo>
                      <a:pt x="13631" y="13707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: Shape 2184">
                <a:extLst>
                  <a:ext uri="{FF2B5EF4-FFF2-40B4-BE49-F238E27FC236}">
                    <a16:creationId xmlns:a16="http://schemas.microsoft.com/office/drawing/2014/main" id="{EB267D72-8A1F-456F-978F-8423A31CB732}"/>
                  </a:ext>
                </a:extLst>
              </p:cNvPr>
              <p:cNvSpPr/>
              <p:nvPr/>
            </p:nvSpPr>
            <p:spPr>
              <a:xfrm>
                <a:off x="10826859" y="3751613"/>
                <a:ext cx="13631" cy="13706"/>
              </a:xfrm>
              <a:custGeom>
                <a:avLst/>
                <a:gdLst>
                  <a:gd name="connsiteX0" fmla="*/ 0 w 13631"/>
                  <a:gd name="connsiteY0" fmla="*/ 0 h 13706"/>
                  <a:gd name="connsiteX1" fmla="*/ 13631 w 13631"/>
                  <a:gd name="connsiteY1" fmla="*/ 13707 h 13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631" h="13706">
                    <a:moveTo>
                      <a:pt x="0" y="0"/>
                    </a:moveTo>
                    <a:lnTo>
                      <a:pt x="13631" y="13707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33" name="Group 2174">
            <a:extLst>
              <a:ext uri="{FF2B5EF4-FFF2-40B4-BE49-F238E27FC236}">
                <a16:creationId xmlns:a16="http://schemas.microsoft.com/office/drawing/2014/main" id="{E9B08B93-5A9A-4941-A583-6A5EDCB46CF7}"/>
              </a:ext>
            </a:extLst>
          </p:cNvPr>
          <p:cNvGrpSpPr/>
          <p:nvPr/>
        </p:nvGrpSpPr>
        <p:grpSpPr>
          <a:xfrm>
            <a:off x="1533336" y="2222991"/>
            <a:ext cx="504000" cy="504000"/>
            <a:chOff x="10718234" y="3679027"/>
            <a:chExt cx="504000" cy="504000"/>
          </a:xfrm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grpSpPr>
        <p:sp>
          <p:nvSpPr>
            <p:cNvPr id="134" name="Oval 2175">
              <a:extLst>
                <a:ext uri="{FF2B5EF4-FFF2-40B4-BE49-F238E27FC236}">
                  <a16:creationId xmlns:a16="http://schemas.microsoft.com/office/drawing/2014/main" id="{C5FB8020-5D26-4310-9474-5E491E5183A0}"/>
                </a:ext>
              </a:extLst>
            </p:cNvPr>
            <p:cNvSpPr/>
            <p:nvPr/>
          </p:nvSpPr>
          <p:spPr>
            <a:xfrm>
              <a:off x="10718234" y="3679027"/>
              <a:ext cx="504000" cy="504000"/>
            </a:xfrm>
            <a:prstGeom prst="ellipse">
              <a:avLst/>
            </a:prstGeom>
            <a:solidFill>
              <a:srgbClr val="4ABD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solidFill>
                  <a:prstClr val="white"/>
                </a:solidFill>
              </a:endParaRPr>
            </a:p>
          </p:txBody>
        </p:sp>
        <p:grpSp>
          <p:nvGrpSpPr>
            <p:cNvPr id="135" name="Graphic 1493">
              <a:extLst>
                <a:ext uri="{FF2B5EF4-FFF2-40B4-BE49-F238E27FC236}">
                  <a16:creationId xmlns:a16="http://schemas.microsoft.com/office/drawing/2014/main" id="{08655EE5-AF7D-4B11-BF37-FAB387433966}"/>
                </a:ext>
              </a:extLst>
            </p:cNvPr>
            <p:cNvGrpSpPr/>
            <p:nvPr/>
          </p:nvGrpSpPr>
          <p:grpSpPr>
            <a:xfrm>
              <a:off x="10822038" y="3764294"/>
              <a:ext cx="251553" cy="328542"/>
              <a:chOff x="10792630" y="3710568"/>
              <a:chExt cx="339051" cy="442826"/>
            </a:xfrm>
            <a:noFill/>
          </p:grpSpPr>
          <p:grpSp>
            <p:nvGrpSpPr>
              <p:cNvPr id="136" name="Graphic 1493">
                <a:extLst>
                  <a:ext uri="{FF2B5EF4-FFF2-40B4-BE49-F238E27FC236}">
                    <a16:creationId xmlns:a16="http://schemas.microsoft.com/office/drawing/2014/main" id="{37AC7B24-9008-4898-BDC6-06521C9C0EBB}"/>
                  </a:ext>
                </a:extLst>
              </p:cNvPr>
              <p:cNvGrpSpPr/>
              <p:nvPr/>
            </p:nvGrpSpPr>
            <p:grpSpPr>
              <a:xfrm>
                <a:off x="10840549" y="3765212"/>
                <a:ext cx="291132" cy="388182"/>
                <a:chOff x="10840549" y="3765212"/>
                <a:chExt cx="291132" cy="388182"/>
              </a:xfrm>
              <a:noFill/>
            </p:grpSpPr>
            <p:sp>
              <p:nvSpPr>
                <p:cNvPr id="144" name="Freeform: Shape 2185">
                  <a:extLst>
                    <a:ext uri="{FF2B5EF4-FFF2-40B4-BE49-F238E27FC236}">
                      <a16:creationId xmlns:a16="http://schemas.microsoft.com/office/drawing/2014/main" id="{0FA2C198-1E7F-4321-8432-98318D66F49D}"/>
                    </a:ext>
                  </a:extLst>
                </p:cNvPr>
                <p:cNvSpPr/>
                <p:nvPr/>
              </p:nvSpPr>
              <p:spPr>
                <a:xfrm>
                  <a:off x="10888275" y="3853694"/>
                  <a:ext cx="54751" cy="25444"/>
                </a:xfrm>
                <a:custGeom>
                  <a:avLst/>
                  <a:gdLst>
                    <a:gd name="connsiteX0" fmla="*/ 54752 w 54751"/>
                    <a:gd name="connsiteY0" fmla="*/ 0 h 25444"/>
                    <a:gd name="connsiteX1" fmla="*/ 27414 w 54751"/>
                    <a:gd name="connsiteY1" fmla="*/ 25445 h 25444"/>
                    <a:gd name="connsiteX2" fmla="*/ 0 w 54751"/>
                    <a:gd name="connsiteY2" fmla="*/ 0 h 254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4751" h="25444">
                      <a:moveTo>
                        <a:pt x="54752" y="0"/>
                      </a:moveTo>
                      <a:lnTo>
                        <a:pt x="27414" y="25445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 cap="flat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s-E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5" name="Freeform: Shape 2186">
                  <a:extLst>
                    <a:ext uri="{FF2B5EF4-FFF2-40B4-BE49-F238E27FC236}">
                      <a16:creationId xmlns:a16="http://schemas.microsoft.com/office/drawing/2014/main" id="{3A374088-604C-4CA1-9DFE-C1B8645EFB4E}"/>
                    </a:ext>
                  </a:extLst>
                </p:cNvPr>
                <p:cNvSpPr/>
                <p:nvPr/>
              </p:nvSpPr>
              <p:spPr>
                <a:xfrm>
                  <a:off x="10915764" y="3881562"/>
                  <a:ext cx="7572" cy="20522"/>
                </a:xfrm>
                <a:custGeom>
                  <a:avLst/>
                  <a:gdLst>
                    <a:gd name="connsiteX0" fmla="*/ 0 w 7572"/>
                    <a:gd name="connsiteY0" fmla="*/ 0 h 20522"/>
                    <a:gd name="connsiteX1" fmla="*/ 0 w 7572"/>
                    <a:gd name="connsiteY1" fmla="*/ 20522 h 205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572" h="20522">
                      <a:moveTo>
                        <a:pt x="0" y="0"/>
                      </a:moveTo>
                      <a:lnTo>
                        <a:pt x="0" y="20522"/>
                      </a:lnTo>
                    </a:path>
                  </a:pathLst>
                </a:custGeom>
                <a:ln w="6350" cap="flat">
                  <a:solidFill>
                    <a:schemeClr val="bg1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es-ES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46" name="Graphic 1493">
                  <a:extLst>
                    <a:ext uri="{FF2B5EF4-FFF2-40B4-BE49-F238E27FC236}">
                      <a16:creationId xmlns:a16="http://schemas.microsoft.com/office/drawing/2014/main" id="{88B33212-4BE7-4232-B041-E260DD1F2F78}"/>
                    </a:ext>
                  </a:extLst>
                </p:cNvPr>
                <p:cNvGrpSpPr/>
                <p:nvPr/>
              </p:nvGrpSpPr>
              <p:grpSpPr>
                <a:xfrm>
                  <a:off x="10840549" y="3765212"/>
                  <a:ext cx="291132" cy="388182"/>
                  <a:chOff x="10840549" y="3765212"/>
                  <a:chExt cx="291132" cy="388182"/>
                </a:xfrm>
                <a:noFill/>
              </p:grpSpPr>
              <p:sp>
                <p:nvSpPr>
                  <p:cNvPr id="147" name="Freeform: Shape 2188">
                    <a:extLst>
                      <a:ext uri="{FF2B5EF4-FFF2-40B4-BE49-F238E27FC236}">
                        <a16:creationId xmlns:a16="http://schemas.microsoft.com/office/drawing/2014/main" id="{83BF9891-3A1E-4DE8-9244-65379EFAF495}"/>
                      </a:ext>
                    </a:extLst>
                  </p:cNvPr>
                  <p:cNvSpPr/>
                  <p:nvPr/>
                </p:nvSpPr>
                <p:spPr>
                  <a:xfrm>
                    <a:off x="10881535" y="3922607"/>
                    <a:ext cx="68458" cy="7572"/>
                  </a:xfrm>
                  <a:custGeom>
                    <a:avLst/>
                    <a:gdLst>
                      <a:gd name="connsiteX0" fmla="*/ 0 w 68458"/>
                      <a:gd name="connsiteY0" fmla="*/ 0 h 7572"/>
                      <a:gd name="connsiteX1" fmla="*/ 68458 w 68458"/>
                      <a:gd name="connsiteY1" fmla="*/ 0 h 7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458" h="7572">
                        <a:moveTo>
                          <a:pt x="0" y="0"/>
                        </a:moveTo>
                        <a:lnTo>
                          <a:pt x="68458" y="0"/>
                        </a:lnTo>
                      </a:path>
                    </a:pathLst>
                  </a:custGeom>
                  <a:ln w="6350" cap="flat">
                    <a:solidFill>
                      <a:schemeClr val="bg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s-E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8" name="Freeform: Shape 2189">
                    <a:extLst>
                      <a:ext uri="{FF2B5EF4-FFF2-40B4-BE49-F238E27FC236}">
                        <a16:creationId xmlns:a16="http://schemas.microsoft.com/office/drawing/2014/main" id="{95446384-634E-4A94-AE53-3B4F4537CDC6}"/>
                      </a:ext>
                    </a:extLst>
                  </p:cNvPr>
                  <p:cNvSpPr/>
                  <p:nvPr/>
                </p:nvSpPr>
                <p:spPr>
                  <a:xfrm>
                    <a:off x="10881535" y="3943129"/>
                    <a:ext cx="68458" cy="7572"/>
                  </a:xfrm>
                  <a:custGeom>
                    <a:avLst/>
                    <a:gdLst>
                      <a:gd name="connsiteX0" fmla="*/ 0 w 68458"/>
                      <a:gd name="connsiteY0" fmla="*/ 0 h 7572"/>
                      <a:gd name="connsiteX1" fmla="*/ 68458 w 68458"/>
                      <a:gd name="connsiteY1" fmla="*/ 0 h 7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458" h="7572">
                        <a:moveTo>
                          <a:pt x="0" y="0"/>
                        </a:moveTo>
                        <a:lnTo>
                          <a:pt x="68458" y="0"/>
                        </a:lnTo>
                      </a:path>
                    </a:pathLst>
                  </a:custGeom>
                  <a:ln w="6350" cap="flat">
                    <a:solidFill>
                      <a:schemeClr val="bg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s-E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49" name="Freeform: Shape 2190">
                    <a:extLst>
                      <a:ext uri="{FF2B5EF4-FFF2-40B4-BE49-F238E27FC236}">
                        <a16:creationId xmlns:a16="http://schemas.microsoft.com/office/drawing/2014/main" id="{30CBC45D-ED51-49AD-A9EB-8F5F7BEA5298}"/>
                      </a:ext>
                    </a:extLst>
                  </p:cNvPr>
                  <p:cNvSpPr/>
                  <p:nvPr/>
                </p:nvSpPr>
                <p:spPr>
                  <a:xfrm>
                    <a:off x="10881535" y="3963652"/>
                    <a:ext cx="68458" cy="7572"/>
                  </a:xfrm>
                  <a:custGeom>
                    <a:avLst/>
                    <a:gdLst>
                      <a:gd name="connsiteX0" fmla="*/ 0 w 68458"/>
                      <a:gd name="connsiteY0" fmla="*/ 0 h 7572"/>
                      <a:gd name="connsiteX1" fmla="*/ 68458 w 68458"/>
                      <a:gd name="connsiteY1" fmla="*/ 0 h 75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68458" h="7572">
                        <a:moveTo>
                          <a:pt x="0" y="0"/>
                        </a:moveTo>
                        <a:lnTo>
                          <a:pt x="68458" y="0"/>
                        </a:lnTo>
                      </a:path>
                    </a:pathLst>
                  </a:custGeom>
                  <a:ln w="6350" cap="flat">
                    <a:solidFill>
                      <a:schemeClr val="bg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s-E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0" name="Freeform: Shape 2191">
                    <a:extLst>
                      <a:ext uri="{FF2B5EF4-FFF2-40B4-BE49-F238E27FC236}">
                        <a16:creationId xmlns:a16="http://schemas.microsoft.com/office/drawing/2014/main" id="{B1707E9B-7884-4C3A-9024-239E118BB239}"/>
                      </a:ext>
                    </a:extLst>
                  </p:cNvPr>
                  <p:cNvSpPr/>
                  <p:nvPr/>
                </p:nvSpPr>
                <p:spPr>
                  <a:xfrm>
                    <a:off x="10840549" y="3765212"/>
                    <a:ext cx="291132" cy="388182"/>
                  </a:xfrm>
                  <a:custGeom>
                    <a:avLst/>
                    <a:gdLst>
                      <a:gd name="connsiteX0" fmla="*/ 926 w 150564"/>
                      <a:gd name="connsiteY0" fmla="*/ 63339 h 232667"/>
                      <a:gd name="connsiteX1" fmla="*/ 16072 w 150564"/>
                      <a:gd name="connsiteY1" fmla="*/ 121725 h 232667"/>
                      <a:gd name="connsiteX2" fmla="*/ 41062 w 150564"/>
                      <a:gd name="connsiteY2" fmla="*/ 198287 h 232667"/>
                      <a:gd name="connsiteX3" fmla="*/ 41062 w 150564"/>
                      <a:gd name="connsiteY3" fmla="*/ 198438 h 232667"/>
                      <a:gd name="connsiteX4" fmla="*/ 75291 w 150564"/>
                      <a:gd name="connsiteY4" fmla="*/ 232667 h 232667"/>
                      <a:gd name="connsiteX5" fmla="*/ 75291 w 150564"/>
                      <a:gd name="connsiteY5" fmla="*/ 232667 h 232667"/>
                      <a:gd name="connsiteX6" fmla="*/ 109520 w 150564"/>
                      <a:gd name="connsiteY6" fmla="*/ 198438 h 232667"/>
                      <a:gd name="connsiteX7" fmla="*/ 109520 w 150564"/>
                      <a:gd name="connsiteY7" fmla="*/ 195030 h 232667"/>
                      <a:gd name="connsiteX8" fmla="*/ 135874 w 150564"/>
                      <a:gd name="connsiteY8" fmla="*/ 119832 h 232667"/>
                      <a:gd name="connsiteX9" fmla="*/ 150565 w 150564"/>
                      <a:gd name="connsiteY9" fmla="*/ 75228 h 232667"/>
                      <a:gd name="connsiteX10" fmla="*/ 66658 w 150564"/>
                      <a:gd name="connsiteY10" fmla="*/ 485 h 232667"/>
                      <a:gd name="connsiteX11" fmla="*/ 926 w 150564"/>
                      <a:gd name="connsiteY11" fmla="*/ 63339 h 2326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50564" h="232667">
                        <a:moveTo>
                          <a:pt x="926" y="63339"/>
                        </a:moveTo>
                        <a:cubicBezTo>
                          <a:pt x="-2482" y="85452"/>
                          <a:pt x="3728" y="106050"/>
                          <a:pt x="16072" y="121725"/>
                        </a:cubicBezTo>
                        <a:cubicBezTo>
                          <a:pt x="33110" y="143384"/>
                          <a:pt x="41062" y="170722"/>
                          <a:pt x="41062" y="198287"/>
                        </a:cubicBezTo>
                        <a:lnTo>
                          <a:pt x="41062" y="198438"/>
                        </a:lnTo>
                        <a:cubicBezTo>
                          <a:pt x="41062" y="217294"/>
                          <a:pt x="56359" y="232667"/>
                          <a:pt x="75291" y="232667"/>
                        </a:cubicBezTo>
                        <a:lnTo>
                          <a:pt x="75291" y="232667"/>
                        </a:lnTo>
                        <a:cubicBezTo>
                          <a:pt x="94147" y="232667"/>
                          <a:pt x="109520" y="217370"/>
                          <a:pt x="109520" y="198438"/>
                        </a:cubicBezTo>
                        <a:lnTo>
                          <a:pt x="109520" y="195030"/>
                        </a:lnTo>
                        <a:cubicBezTo>
                          <a:pt x="109520" y="167692"/>
                          <a:pt x="119668" y="141869"/>
                          <a:pt x="135874" y="119832"/>
                        </a:cubicBezTo>
                        <a:cubicBezTo>
                          <a:pt x="145113" y="107337"/>
                          <a:pt x="150565" y="91964"/>
                          <a:pt x="150565" y="75228"/>
                        </a:cubicBezTo>
                        <a:cubicBezTo>
                          <a:pt x="150565" y="30852"/>
                          <a:pt x="112095" y="-4589"/>
                          <a:pt x="66658" y="485"/>
                        </a:cubicBezTo>
                        <a:cubicBezTo>
                          <a:pt x="33413" y="4271"/>
                          <a:pt x="6000" y="30397"/>
                          <a:pt x="926" y="63339"/>
                        </a:cubicBezTo>
                        <a:close/>
                      </a:path>
                    </a:pathLst>
                  </a:custGeom>
                  <a:noFill/>
                  <a:ln w="6350" cap="flat">
                    <a:solidFill>
                      <a:schemeClr val="bg1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es-ES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sp>
            <p:nvSpPr>
              <p:cNvPr id="137" name="Freeform: Shape 2178">
                <a:extLst>
                  <a:ext uri="{FF2B5EF4-FFF2-40B4-BE49-F238E27FC236}">
                    <a16:creationId xmlns:a16="http://schemas.microsoft.com/office/drawing/2014/main" id="{08626CEF-6668-4F45-A05F-8D0F86F846A9}"/>
                  </a:ext>
                </a:extLst>
              </p:cNvPr>
              <p:cNvSpPr/>
              <p:nvPr/>
            </p:nvSpPr>
            <p:spPr>
              <a:xfrm>
                <a:off x="10915764" y="3710568"/>
                <a:ext cx="7572" cy="20522"/>
              </a:xfrm>
              <a:custGeom>
                <a:avLst/>
                <a:gdLst>
                  <a:gd name="connsiteX0" fmla="*/ 0 w 7572"/>
                  <a:gd name="connsiteY0" fmla="*/ 0 h 20522"/>
                  <a:gd name="connsiteX1" fmla="*/ 0 w 7572"/>
                  <a:gd name="connsiteY1" fmla="*/ 20522 h 20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72" h="20522">
                    <a:moveTo>
                      <a:pt x="0" y="0"/>
                    </a:moveTo>
                    <a:lnTo>
                      <a:pt x="0" y="20522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: Shape 2179">
                <a:extLst>
                  <a:ext uri="{FF2B5EF4-FFF2-40B4-BE49-F238E27FC236}">
                    <a16:creationId xmlns:a16="http://schemas.microsoft.com/office/drawing/2014/main" id="{DEA0DC2D-8E23-4B13-8C1D-82F81D6B337B}"/>
                  </a:ext>
                </a:extLst>
              </p:cNvPr>
              <p:cNvSpPr/>
              <p:nvPr/>
            </p:nvSpPr>
            <p:spPr>
              <a:xfrm>
                <a:off x="10792630" y="3840518"/>
                <a:ext cx="20522" cy="7572"/>
              </a:xfrm>
              <a:custGeom>
                <a:avLst/>
                <a:gdLst>
                  <a:gd name="connsiteX0" fmla="*/ 0 w 20522"/>
                  <a:gd name="connsiteY0" fmla="*/ 0 h 7572"/>
                  <a:gd name="connsiteX1" fmla="*/ 20522 w 20522"/>
                  <a:gd name="connsiteY1" fmla="*/ 0 h 7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522" h="7572">
                    <a:moveTo>
                      <a:pt x="0" y="0"/>
                    </a:moveTo>
                    <a:lnTo>
                      <a:pt x="20522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: Shape 2180">
                <a:extLst>
                  <a:ext uri="{FF2B5EF4-FFF2-40B4-BE49-F238E27FC236}">
                    <a16:creationId xmlns:a16="http://schemas.microsoft.com/office/drawing/2014/main" id="{1EE7E745-257C-47DE-9776-66F2DB9E1B2B}"/>
                  </a:ext>
                </a:extLst>
              </p:cNvPr>
              <p:cNvSpPr/>
              <p:nvPr/>
            </p:nvSpPr>
            <p:spPr>
              <a:xfrm>
                <a:off x="11018376" y="3840518"/>
                <a:ext cx="20522" cy="7572"/>
              </a:xfrm>
              <a:custGeom>
                <a:avLst/>
                <a:gdLst>
                  <a:gd name="connsiteX0" fmla="*/ 0 w 20522"/>
                  <a:gd name="connsiteY0" fmla="*/ 0 h 7572"/>
                  <a:gd name="connsiteX1" fmla="*/ 20522 w 20522"/>
                  <a:gd name="connsiteY1" fmla="*/ 0 h 7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522" h="7572">
                    <a:moveTo>
                      <a:pt x="0" y="0"/>
                    </a:moveTo>
                    <a:lnTo>
                      <a:pt x="20522" y="0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: Shape 2181">
                <a:extLst>
                  <a:ext uri="{FF2B5EF4-FFF2-40B4-BE49-F238E27FC236}">
                    <a16:creationId xmlns:a16="http://schemas.microsoft.com/office/drawing/2014/main" id="{6EC7196B-25C2-4FB0-8668-B26CA20A1BD6}"/>
                  </a:ext>
                </a:extLst>
              </p:cNvPr>
              <p:cNvSpPr/>
              <p:nvPr/>
            </p:nvSpPr>
            <p:spPr>
              <a:xfrm>
                <a:off x="10826859" y="3908976"/>
                <a:ext cx="13631" cy="13631"/>
              </a:xfrm>
              <a:custGeom>
                <a:avLst/>
                <a:gdLst>
                  <a:gd name="connsiteX0" fmla="*/ 13631 w 13631"/>
                  <a:gd name="connsiteY0" fmla="*/ 0 h 13631"/>
                  <a:gd name="connsiteX1" fmla="*/ 0 w 13631"/>
                  <a:gd name="connsiteY1" fmla="*/ 13631 h 13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631" h="13631">
                    <a:moveTo>
                      <a:pt x="13631" y="0"/>
                    </a:moveTo>
                    <a:lnTo>
                      <a:pt x="0" y="13631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: Shape 2182">
                <a:extLst>
                  <a:ext uri="{FF2B5EF4-FFF2-40B4-BE49-F238E27FC236}">
                    <a16:creationId xmlns:a16="http://schemas.microsoft.com/office/drawing/2014/main" id="{3848ED47-BB27-4E67-83B8-4F81A71F8677}"/>
                  </a:ext>
                </a:extLst>
              </p:cNvPr>
              <p:cNvSpPr/>
              <p:nvPr/>
            </p:nvSpPr>
            <p:spPr>
              <a:xfrm>
                <a:off x="10984147" y="3751613"/>
                <a:ext cx="13706" cy="13706"/>
              </a:xfrm>
              <a:custGeom>
                <a:avLst/>
                <a:gdLst>
                  <a:gd name="connsiteX0" fmla="*/ 13707 w 13706"/>
                  <a:gd name="connsiteY0" fmla="*/ 0 h 13706"/>
                  <a:gd name="connsiteX1" fmla="*/ 0 w 13706"/>
                  <a:gd name="connsiteY1" fmla="*/ 13707 h 13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706" h="13706">
                    <a:moveTo>
                      <a:pt x="13707" y="0"/>
                    </a:moveTo>
                    <a:lnTo>
                      <a:pt x="0" y="13707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: Shape 2183">
                <a:extLst>
                  <a:ext uri="{FF2B5EF4-FFF2-40B4-BE49-F238E27FC236}">
                    <a16:creationId xmlns:a16="http://schemas.microsoft.com/office/drawing/2014/main" id="{F5FD30E4-82CC-4E96-9A36-FBAE418ACDD3}"/>
                  </a:ext>
                </a:extLst>
              </p:cNvPr>
              <p:cNvSpPr/>
              <p:nvPr/>
            </p:nvSpPr>
            <p:spPr>
              <a:xfrm>
                <a:off x="10991038" y="3915791"/>
                <a:ext cx="13631" cy="13706"/>
              </a:xfrm>
              <a:custGeom>
                <a:avLst/>
                <a:gdLst>
                  <a:gd name="connsiteX0" fmla="*/ 0 w 13631"/>
                  <a:gd name="connsiteY0" fmla="*/ 0 h 13706"/>
                  <a:gd name="connsiteX1" fmla="*/ 13631 w 13631"/>
                  <a:gd name="connsiteY1" fmla="*/ 13707 h 13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631" h="13706">
                    <a:moveTo>
                      <a:pt x="0" y="0"/>
                    </a:moveTo>
                    <a:lnTo>
                      <a:pt x="13631" y="13707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: Shape 2184">
                <a:extLst>
                  <a:ext uri="{FF2B5EF4-FFF2-40B4-BE49-F238E27FC236}">
                    <a16:creationId xmlns:a16="http://schemas.microsoft.com/office/drawing/2014/main" id="{036475CD-4177-4E85-930C-C92A407212DE}"/>
                  </a:ext>
                </a:extLst>
              </p:cNvPr>
              <p:cNvSpPr/>
              <p:nvPr/>
            </p:nvSpPr>
            <p:spPr>
              <a:xfrm>
                <a:off x="10826859" y="3751613"/>
                <a:ext cx="13631" cy="13706"/>
              </a:xfrm>
              <a:custGeom>
                <a:avLst/>
                <a:gdLst>
                  <a:gd name="connsiteX0" fmla="*/ 0 w 13631"/>
                  <a:gd name="connsiteY0" fmla="*/ 0 h 13706"/>
                  <a:gd name="connsiteX1" fmla="*/ 13631 w 13631"/>
                  <a:gd name="connsiteY1" fmla="*/ 13707 h 13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631" h="13706">
                    <a:moveTo>
                      <a:pt x="0" y="0"/>
                    </a:moveTo>
                    <a:lnTo>
                      <a:pt x="13631" y="13707"/>
                    </a:lnTo>
                  </a:path>
                </a:pathLst>
              </a:custGeom>
              <a:ln w="6350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s-E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8" name="CuadroTexto 17"/>
          <p:cNvSpPr txBox="1"/>
          <p:nvPr/>
        </p:nvSpPr>
        <p:spPr>
          <a:xfrm>
            <a:off x="2294999" y="4023310"/>
            <a:ext cx="65502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u="heavy" dirty="0">
                <a:solidFill>
                  <a:schemeClr val="tx1">
                    <a:lumMod val="50000"/>
                    <a:lumOff val="50000"/>
                  </a:schemeClr>
                </a:solidFill>
                <a:uFill>
                  <a:solidFill>
                    <a:srgbClr val="FF0000"/>
                  </a:solidFill>
                </a:uFill>
                <a:latin typeface="Calibri" pitchFamily="34" charset="0"/>
              </a:rPr>
              <a:t>Consenso social</a:t>
            </a:r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para accionar todas las palancas a la vez</a:t>
            </a:r>
            <a:endParaRPr lang="es-ES" b="0" u="heavy" dirty="0">
              <a:solidFill>
                <a:schemeClr val="tx1">
                  <a:lumMod val="50000"/>
                  <a:lumOff val="50000"/>
                </a:schemeClr>
              </a:solidFill>
              <a:uFill>
                <a:solidFill>
                  <a:srgbClr val="FF0000"/>
                </a:solidFill>
              </a:u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1331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8BDB9F9-D537-4F39-B2A9-00D5DD6583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134" y="290629"/>
            <a:ext cx="7060565" cy="518108"/>
          </a:xfrm>
        </p:spPr>
        <p:txBody>
          <a:bodyPr/>
          <a:lstStyle/>
          <a:p>
            <a:pPr marL="0" indent="0"/>
            <a:r>
              <a:rPr lang="es-ES" sz="2400" dirty="0"/>
              <a:t>Esquema</a:t>
            </a:r>
          </a:p>
        </p:txBody>
      </p:sp>
      <p:pic>
        <p:nvPicPr>
          <p:cNvPr id="9" name="Imagen 2">
            <a:extLst>
              <a:ext uri="{FF2B5EF4-FFF2-40B4-BE49-F238E27FC236}">
                <a16:creationId xmlns:a16="http://schemas.microsoft.com/office/drawing/2014/main" id="{6BC78CFC-D9EA-43DF-B03F-93CEAFE436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rgbClr val="009AD8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1743" r="9872"/>
          <a:stretch/>
        </p:blipFill>
        <p:spPr>
          <a:xfrm rot="16200000">
            <a:off x="-1933105" y="2962384"/>
            <a:ext cx="5201664" cy="1545294"/>
          </a:xfrm>
          <a:prstGeom prst="rect">
            <a:avLst/>
          </a:prstGeom>
        </p:spPr>
      </p:pic>
      <p:sp>
        <p:nvSpPr>
          <p:cNvPr id="10" name="2 Marcador de texto">
            <a:extLst>
              <a:ext uri="{FF2B5EF4-FFF2-40B4-BE49-F238E27FC236}">
                <a16:creationId xmlns:a16="http://schemas.microsoft.com/office/drawing/2014/main" id="{415DF4CB-0E32-4154-98D2-70F088C23726}"/>
              </a:ext>
            </a:extLst>
          </p:cNvPr>
          <p:cNvSpPr txBox="1">
            <a:spLocks/>
          </p:cNvSpPr>
          <p:nvPr/>
        </p:nvSpPr>
        <p:spPr bwMode="auto">
          <a:xfrm>
            <a:off x="2643791" y="1645193"/>
            <a:ext cx="8700483" cy="40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88900" indent="-88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chemeClr val="hlink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195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80959F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6286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8953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16840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6256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828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400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972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Introducció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  <a:ea typeface="ＭＳ Ｐゴシック"/>
              </a:rPr>
              <a:t>Transición demográfica</a:t>
            </a:r>
            <a:endParaRPr kumimoji="0" lang="es-ES" sz="2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Envejecimiento y crecimiento económic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Mecanismos para paliar el impacto económico del envejecimient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  <a:ea typeface="ＭＳ Ｐゴシック"/>
              </a:rPr>
              <a:t>Conclusiones</a:t>
            </a:r>
            <a:endParaRPr kumimoji="0" lang="es-ES" sz="2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</p:txBody>
      </p:sp>
      <p:grpSp>
        <p:nvGrpSpPr>
          <p:cNvPr id="11" name="Grupo 9">
            <a:extLst>
              <a:ext uri="{FF2B5EF4-FFF2-40B4-BE49-F238E27FC236}">
                <a16:creationId xmlns:a16="http://schemas.microsoft.com/office/drawing/2014/main" id="{497AA137-200F-4EFC-BB64-54992BBFAAFA}"/>
              </a:ext>
            </a:extLst>
          </p:cNvPr>
          <p:cNvGrpSpPr/>
          <p:nvPr/>
        </p:nvGrpSpPr>
        <p:grpSpPr>
          <a:xfrm>
            <a:off x="1791999" y="1534294"/>
            <a:ext cx="676275" cy="676275"/>
            <a:chOff x="3057525" y="2571750"/>
            <a:chExt cx="676275" cy="676275"/>
          </a:xfrm>
        </p:grpSpPr>
        <p:sp>
          <p:nvSpPr>
            <p:cNvPr id="14" name="Rectángulo 7">
              <a:extLst>
                <a:ext uri="{FF2B5EF4-FFF2-40B4-BE49-F238E27FC236}">
                  <a16:creationId xmlns:a16="http://schemas.microsoft.com/office/drawing/2014/main" id="{F132D1CD-2446-4BC0-A1D6-A4ADA61BB635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5" name="Rectángulo 11">
              <a:extLst>
                <a:ext uri="{FF2B5EF4-FFF2-40B4-BE49-F238E27FC236}">
                  <a16:creationId xmlns:a16="http://schemas.microsoft.com/office/drawing/2014/main" id="{2624A886-111E-437E-B713-8D2DFF5F97C2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1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6" name="Grupo 12">
            <a:extLst>
              <a:ext uri="{FF2B5EF4-FFF2-40B4-BE49-F238E27FC236}">
                <a16:creationId xmlns:a16="http://schemas.microsoft.com/office/drawing/2014/main" id="{B3B71B00-8BDA-4E79-A610-643A03514497}"/>
              </a:ext>
            </a:extLst>
          </p:cNvPr>
          <p:cNvGrpSpPr/>
          <p:nvPr/>
        </p:nvGrpSpPr>
        <p:grpSpPr>
          <a:xfrm>
            <a:off x="1791999" y="2442681"/>
            <a:ext cx="676275" cy="676275"/>
            <a:chOff x="3057525" y="2571750"/>
            <a:chExt cx="676275" cy="676275"/>
          </a:xfrm>
        </p:grpSpPr>
        <p:sp>
          <p:nvSpPr>
            <p:cNvPr id="17" name="Rectángulo 13">
              <a:extLst>
                <a:ext uri="{FF2B5EF4-FFF2-40B4-BE49-F238E27FC236}">
                  <a16:creationId xmlns:a16="http://schemas.microsoft.com/office/drawing/2014/main" id="{343EB4AA-D70A-4F6C-8EF4-9233A98B73D6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8" name="Rectángulo 14">
              <a:extLst>
                <a:ext uri="{FF2B5EF4-FFF2-40B4-BE49-F238E27FC236}">
                  <a16:creationId xmlns:a16="http://schemas.microsoft.com/office/drawing/2014/main" id="{081C4A98-AD52-4CA5-B2A8-FDBF0CBC12FF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2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9" name="Grupo 12">
            <a:extLst>
              <a:ext uri="{FF2B5EF4-FFF2-40B4-BE49-F238E27FC236}">
                <a16:creationId xmlns:a16="http://schemas.microsoft.com/office/drawing/2014/main" id="{25A34E27-5245-49D6-A0A5-3F3A9852CD85}"/>
              </a:ext>
            </a:extLst>
          </p:cNvPr>
          <p:cNvGrpSpPr/>
          <p:nvPr/>
        </p:nvGrpSpPr>
        <p:grpSpPr>
          <a:xfrm>
            <a:off x="1791999" y="3307604"/>
            <a:ext cx="676275" cy="676275"/>
            <a:chOff x="3057525" y="2571750"/>
            <a:chExt cx="676275" cy="676275"/>
          </a:xfrm>
        </p:grpSpPr>
        <p:sp>
          <p:nvSpPr>
            <p:cNvPr id="20" name="Rectángulo 13">
              <a:extLst>
                <a:ext uri="{FF2B5EF4-FFF2-40B4-BE49-F238E27FC236}">
                  <a16:creationId xmlns:a16="http://schemas.microsoft.com/office/drawing/2014/main" id="{197069CD-8E47-4722-A263-AA6FF0CCA27E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9028F608-93B9-4467-AF3F-1F3BCCB7FB48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3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22" name="Grupo 12">
            <a:extLst>
              <a:ext uri="{FF2B5EF4-FFF2-40B4-BE49-F238E27FC236}">
                <a16:creationId xmlns:a16="http://schemas.microsoft.com/office/drawing/2014/main" id="{7BC0A413-024A-462D-AC23-E20439E1F52C}"/>
              </a:ext>
            </a:extLst>
          </p:cNvPr>
          <p:cNvGrpSpPr/>
          <p:nvPr/>
        </p:nvGrpSpPr>
        <p:grpSpPr>
          <a:xfrm>
            <a:off x="1791999" y="4259455"/>
            <a:ext cx="676275" cy="676275"/>
            <a:chOff x="3057525" y="2571750"/>
            <a:chExt cx="676275" cy="676275"/>
          </a:xfrm>
        </p:grpSpPr>
        <p:sp>
          <p:nvSpPr>
            <p:cNvPr id="23" name="Rectángulo 13">
              <a:extLst>
                <a:ext uri="{FF2B5EF4-FFF2-40B4-BE49-F238E27FC236}">
                  <a16:creationId xmlns:a16="http://schemas.microsoft.com/office/drawing/2014/main" id="{4EC36241-8CBD-4816-8ED0-9D2524860CF6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" name="Rectángulo 14">
              <a:extLst>
                <a:ext uri="{FF2B5EF4-FFF2-40B4-BE49-F238E27FC236}">
                  <a16:creationId xmlns:a16="http://schemas.microsoft.com/office/drawing/2014/main" id="{BEC9CCCC-E77A-4F6B-BDB3-D356F28E1633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4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25" name="Grupo 12">
            <a:extLst>
              <a:ext uri="{FF2B5EF4-FFF2-40B4-BE49-F238E27FC236}">
                <a16:creationId xmlns:a16="http://schemas.microsoft.com/office/drawing/2014/main" id="{EEB98479-CF7B-4CD5-B8B0-F2C3003FAB85}"/>
              </a:ext>
            </a:extLst>
          </p:cNvPr>
          <p:cNvGrpSpPr/>
          <p:nvPr/>
        </p:nvGrpSpPr>
        <p:grpSpPr>
          <a:xfrm>
            <a:off x="1791999" y="5167842"/>
            <a:ext cx="676275" cy="676275"/>
            <a:chOff x="3057525" y="2571750"/>
            <a:chExt cx="676275" cy="676275"/>
          </a:xfrm>
        </p:grpSpPr>
        <p:sp>
          <p:nvSpPr>
            <p:cNvPr id="26" name="Rectángulo 13">
              <a:extLst>
                <a:ext uri="{FF2B5EF4-FFF2-40B4-BE49-F238E27FC236}">
                  <a16:creationId xmlns:a16="http://schemas.microsoft.com/office/drawing/2014/main" id="{B9D88301-BF2C-41E6-B099-AF91138DDC9C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" name="Rectángulo 14">
              <a:extLst>
                <a:ext uri="{FF2B5EF4-FFF2-40B4-BE49-F238E27FC236}">
                  <a16:creationId xmlns:a16="http://schemas.microsoft.com/office/drawing/2014/main" id="{DDDAB773-4B5C-4D3F-B446-E3D01253B541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5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101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n 2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" t="55" r="4793"/>
          <a:stretch/>
        </p:blipFill>
        <p:spPr>
          <a:xfrm>
            <a:off x="0" y="0"/>
            <a:ext cx="11394558" cy="6858000"/>
          </a:xfrm>
          <a:prstGeom prst="rect">
            <a:avLst/>
          </a:prstGeom>
        </p:spPr>
      </p:pic>
      <p:sp>
        <p:nvSpPr>
          <p:cNvPr id="21" name="Rectángulo 20"/>
          <p:cNvSpPr/>
          <p:nvPr/>
        </p:nvSpPr>
        <p:spPr>
          <a:xfrm rot="10800000">
            <a:off x="5477933" y="0"/>
            <a:ext cx="6714067" cy="6858588"/>
          </a:xfrm>
          <a:prstGeom prst="rect">
            <a:avLst/>
          </a:prstGeom>
          <a:gradFill flip="none" rotWithShape="1">
            <a:gsLst>
              <a:gs pos="25000">
                <a:srgbClr val="3499C2">
                  <a:alpha val="80000"/>
                </a:srgbClr>
              </a:gs>
              <a:gs pos="100000">
                <a:sysClr val="window" lastClr="FFFFFF">
                  <a:alpha val="0"/>
                </a:sysClr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314D1AF0-13A0-4022-8928-4A0B8CEB098C}"/>
              </a:ext>
            </a:extLst>
          </p:cNvPr>
          <p:cNvSpPr txBox="1">
            <a:spLocks/>
          </p:cNvSpPr>
          <p:nvPr/>
        </p:nvSpPr>
        <p:spPr>
          <a:xfrm flipH="1">
            <a:off x="0" y="0"/>
            <a:ext cx="12194194" cy="6868818"/>
          </a:xfrm>
          <a:prstGeom prst="rect">
            <a:avLst/>
          </a:prstGeom>
          <a:gradFill flip="none" rotWithShape="1">
            <a:gsLst>
              <a:gs pos="18000">
                <a:srgbClr val="009AD8">
                  <a:alpha val="8000"/>
                </a:srgbClr>
              </a:gs>
              <a:gs pos="87000">
                <a:srgbClr val="4ABDF0">
                  <a:alpha val="52000"/>
                </a:srgbClr>
              </a:gs>
              <a:gs pos="71000">
                <a:srgbClr val="4ABDF0">
                  <a:alpha val="47000"/>
                </a:srgbClr>
              </a:gs>
              <a:gs pos="100000">
                <a:srgbClr val="4ABDF0">
                  <a:alpha val="94000"/>
                </a:srgbClr>
              </a:gs>
            </a:gsLst>
            <a:lin ang="8100000" scaled="1"/>
            <a:tileRect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dirty="0">
                <a:solidFill>
                  <a:prstClr val="white">
                    <a:alpha val="0"/>
                  </a:prstClr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t>.</a:t>
            </a:r>
          </a:p>
        </p:txBody>
      </p:sp>
      <p:sp>
        <p:nvSpPr>
          <p:cNvPr id="23" name="Rectángulo 22"/>
          <p:cNvSpPr/>
          <p:nvPr/>
        </p:nvSpPr>
        <p:spPr>
          <a:xfrm>
            <a:off x="0" y="2526633"/>
            <a:ext cx="7547811" cy="4331367"/>
          </a:xfrm>
          <a:prstGeom prst="rect">
            <a:avLst/>
          </a:prstGeom>
          <a:gradFill flip="none" rotWithShape="1">
            <a:gsLst>
              <a:gs pos="15000">
                <a:srgbClr val="3499C2">
                  <a:alpha val="87000"/>
                </a:srgbClr>
              </a:gs>
              <a:gs pos="53000">
                <a:sysClr val="window" lastClr="FFFFFF">
                  <a:alpha val="0"/>
                </a:sysClr>
              </a:gs>
            </a:gsLst>
            <a:lin ang="162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4627ECF-3BFB-4A14-8678-3B52FF948F66}"/>
              </a:ext>
            </a:extLst>
          </p:cNvPr>
          <p:cNvSpPr txBox="1">
            <a:spLocks/>
          </p:cNvSpPr>
          <p:nvPr/>
        </p:nvSpPr>
        <p:spPr>
          <a:xfrm>
            <a:off x="6741042" y="0"/>
            <a:ext cx="5018722" cy="68724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bg1">
                    <a:lumMod val="95000"/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95000"/>
                    <a:alpha val="0"/>
                  </a:prstClr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.</a:t>
            </a: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  <a:alpha val="0"/>
                </a:prstClr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grpSp>
        <p:nvGrpSpPr>
          <p:cNvPr id="26" name="Graphic 5">
            <a:extLst>
              <a:ext uri="{FF2B5EF4-FFF2-40B4-BE49-F238E27FC236}">
                <a16:creationId xmlns:a16="http://schemas.microsoft.com/office/drawing/2014/main" id="{5B3B3D2D-5B95-4463-80B7-3D90802AD43E}"/>
              </a:ext>
            </a:extLst>
          </p:cNvPr>
          <p:cNvGrpSpPr/>
          <p:nvPr/>
        </p:nvGrpSpPr>
        <p:grpSpPr>
          <a:xfrm>
            <a:off x="7420712" y="6173208"/>
            <a:ext cx="1602285" cy="332367"/>
            <a:chOff x="12712205" y="7768505"/>
            <a:chExt cx="2099131" cy="435428"/>
          </a:xfrm>
        </p:grpSpPr>
        <p:sp>
          <p:nvSpPr>
            <p:cNvPr id="27" name="Freeform: Shape 11">
              <a:extLst>
                <a:ext uri="{FF2B5EF4-FFF2-40B4-BE49-F238E27FC236}">
                  <a16:creationId xmlns:a16="http://schemas.microsoft.com/office/drawing/2014/main" id="{FBF41FC5-C2C0-4B70-9443-0A8275D0B8E6}"/>
                </a:ext>
              </a:extLst>
            </p:cNvPr>
            <p:cNvSpPr/>
            <p:nvPr/>
          </p:nvSpPr>
          <p:spPr>
            <a:xfrm>
              <a:off x="12802255" y="7984405"/>
              <a:ext cx="72571" cy="63500"/>
            </a:xfrm>
            <a:custGeom>
              <a:avLst/>
              <a:gdLst>
                <a:gd name="connsiteX0" fmla="*/ 57039 w 72571"/>
                <a:gd name="connsiteY0" fmla="*/ 12830 h 63499"/>
                <a:gd name="connsiteX1" fmla="*/ 65204 w 72571"/>
                <a:gd name="connsiteY1" fmla="*/ 25530 h 63499"/>
                <a:gd name="connsiteX2" fmla="*/ 67018 w 72571"/>
                <a:gd name="connsiteY2" fmla="*/ 39137 h 63499"/>
                <a:gd name="connsiteX3" fmla="*/ 57039 w 72571"/>
                <a:gd name="connsiteY3" fmla="*/ 53651 h 63499"/>
                <a:gd name="connsiteX4" fmla="*/ 13496 w 72571"/>
                <a:gd name="connsiteY4" fmla="*/ 52744 h 63499"/>
                <a:gd name="connsiteX5" fmla="*/ 7146 w 72571"/>
                <a:gd name="connsiteY5" fmla="*/ 29158 h 63499"/>
                <a:gd name="connsiteX6" fmla="*/ 11682 w 72571"/>
                <a:gd name="connsiteY6" fmla="*/ 16458 h 63499"/>
                <a:gd name="connsiteX7" fmla="*/ 19846 w 72571"/>
                <a:gd name="connsiteY7" fmla="*/ 11015 h 63499"/>
                <a:gd name="connsiteX8" fmla="*/ 40711 w 72571"/>
                <a:gd name="connsiteY8" fmla="*/ 6480 h 63499"/>
                <a:gd name="connsiteX9" fmla="*/ 57039 w 72571"/>
                <a:gd name="connsiteY9" fmla="*/ 12830 h 63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571" h="63499">
                  <a:moveTo>
                    <a:pt x="57039" y="12830"/>
                  </a:moveTo>
                  <a:cubicBezTo>
                    <a:pt x="61575" y="15551"/>
                    <a:pt x="61575" y="21901"/>
                    <a:pt x="65204" y="25530"/>
                  </a:cubicBezTo>
                  <a:lnTo>
                    <a:pt x="67018" y="39137"/>
                  </a:lnTo>
                  <a:lnTo>
                    <a:pt x="57039" y="53651"/>
                  </a:lnTo>
                  <a:cubicBezTo>
                    <a:pt x="44339" y="60001"/>
                    <a:pt x="25289" y="62722"/>
                    <a:pt x="13496" y="52744"/>
                  </a:cubicBezTo>
                  <a:cubicBezTo>
                    <a:pt x="7146" y="46394"/>
                    <a:pt x="5332" y="38230"/>
                    <a:pt x="7146" y="29158"/>
                  </a:cubicBezTo>
                  <a:lnTo>
                    <a:pt x="11682" y="16458"/>
                  </a:lnTo>
                  <a:cubicBezTo>
                    <a:pt x="14404" y="14644"/>
                    <a:pt x="18032" y="13737"/>
                    <a:pt x="19846" y="11015"/>
                  </a:cubicBezTo>
                  <a:cubicBezTo>
                    <a:pt x="26196" y="7387"/>
                    <a:pt x="34361" y="8294"/>
                    <a:pt x="40711" y="6480"/>
                  </a:cubicBezTo>
                  <a:cubicBezTo>
                    <a:pt x="46154" y="8294"/>
                    <a:pt x="54318" y="5572"/>
                    <a:pt x="57039" y="12830"/>
                  </a:cubicBezTo>
                </a:path>
              </a:pathLst>
            </a:custGeom>
            <a:solidFill>
              <a:srgbClr val="FFCC00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5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28" name="Freeform: Shape 12">
              <a:extLst>
                <a:ext uri="{FF2B5EF4-FFF2-40B4-BE49-F238E27FC236}">
                  <a16:creationId xmlns:a16="http://schemas.microsoft.com/office/drawing/2014/main" id="{E031972F-9668-44D4-9C15-F6F6D0DDFD05}"/>
                </a:ext>
              </a:extLst>
            </p:cNvPr>
            <p:cNvSpPr/>
            <p:nvPr/>
          </p:nvSpPr>
          <p:spPr>
            <a:xfrm>
              <a:off x="12759379" y="8071368"/>
              <a:ext cx="99786" cy="127000"/>
            </a:xfrm>
            <a:custGeom>
              <a:avLst/>
              <a:gdLst>
                <a:gd name="connsiteX0" fmla="*/ 67258 w 99785"/>
                <a:gd name="connsiteY0" fmla="*/ 6602 h 126999"/>
                <a:gd name="connsiteX1" fmla="*/ 78144 w 99785"/>
                <a:gd name="connsiteY1" fmla="*/ 8417 h 126999"/>
                <a:gd name="connsiteX2" fmla="*/ 88122 w 99785"/>
                <a:gd name="connsiteY2" fmla="*/ 18395 h 126999"/>
                <a:gd name="connsiteX3" fmla="*/ 97194 w 99785"/>
                <a:gd name="connsiteY3" fmla="*/ 44702 h 126999"/>
                <a:gd name="connsiteX4" fmla="*/ 98101 w 99785"/>
                <a:gd name="connsiteY4" fmla="*/ 58310 h 126999"/>
                <a:gd name="connsiteX5" fmla="*/ 99915 w 99785"/>
                <a:gd name="connsiteY5" fmla="*/ 59217 h 126999"/>
                <a:gd name="connsiteX6" fmla="*/ 97194 w 99785"/>
                <a:gd name="connsiteY6" fmla="*/ 74638 h 126999"/>
                <a:gd name="connsiteX7" fmla="*/ 89030 w 99785"/>
                <a:gd name="connsiteY7" fmla="*/ 100038 h 126999"/>
                <a:gd name="connsiteX8" fmla="*/ 80865 w 99785"/>
                <a:gd name="connsiteY8" fmla="*/ 106388 h 126999"/>
                <a:gd name="connsiteX9" fmla="*/ 64537 w 99785"/>
                <a:gd name="connsiteY9" fmla="*/ 118181 h 126999"/>
                <a:gd name="connsiteX10" fmla="*/ 44580 w 99785"/>
                <a:gd name="connsiteY10" fmla="*/ 119995 h 126999"/>
                <a:gd name="connsiteX11" fmla="*/ 32787 w 99785"/>
                <a:gd name="connsiteY11" fmla="*/ 115460 h 126999"/>
                <a:gd name="connsiteX12" fmla="*/ 14644 w 99785"/>
                <a:gd name="connsiteY12" fmla="*/ 102760 h 126999"/>
                <a:gd name="connsiteX13" fmla="*/ 7387 w 99785"/>
                <a:gd name="connsiteY13" fmla="*/ 90060 h 126999"/>
                <a:gd name="connsiteX14" fmla="*/ 7387 w 99785"/>
                <a:gd name="connsiteY14" fmla="*/ 71010 h 126999"/>
                <a:gd name="connsiteX15" fmla="*/ 6480 w 99785"/>
                <a:gd name="connsiteY15" fmla="*/ 60124 h 126999"/>
                <a:gd name="connsiteX16" fmla="*/ 11015 w 99785"/>
                <a:gd name="connsiteY16" fmla="*/ 41074 h 126999"/>
                <a:gd name="connsiteX17" fmla="*/ 22808 w 99785"/>
                <a:gd name="connsiteY17" fmla="*/ 25652 h 126999"/>
                <a:gd name="connsiteX18" fmla="*/ 46394 w 99785"/>
                <a:gd name="connsiteY18" fmla="*/ 8417 h 126999"/>
                <a:gd name="connsiteX19" fmla="*/ 55465 w 99785"/>
                <a:gd name="connsiteY19" fmla="*/ 6602 h 126999"/>
                <a:gd name="connsiteX20" fmla="*/ 67258 w 99785"/>
                <a:gd name="connsiteY20" fmla="*/ 6602 h 126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85" h="126999">
                  <a:moveTo>
                    <a:pt x="67258" y="6602"/>
                  </a:moveTo>
                  <a:cubicBezTo>
                    <a:pt x="70887" y="6602"/>
                    <a:pt x="74515" y="9324"/>
                    <a:pt x="78144" y="8417"/>
                  </a:cubicBezTo>
                  <a:cubicBezTo>
                    <a:pt x="83587" y="10231"/>
                    <a:pt x="82680" y="16581"/>
                    <a:pt x="88122" y="18395"/>
                  </a:cubicBezTo>
                  <a:cubicBezTo>
                    <a:pt x="92658" y="26560"/>
                    <a:pt x="95380" y="35631"/>
                    <a:pt x="97194" y="44702"/>
                  </a:cubicBezTo>
                  <a:cubicBezTo>
                    <a:pt x="95380" y="50145"/>
                    <a:pt x="99915" y="52867"/>
                    <a:pt x="98101" y="58310"/>
                  </a:cubicBezTo>
                  <a:lnTo>
                    <a:pt x="99915" y="59217"/>
                  </a:lnTo>
                  <a:cubicBezTo>
                    <a:pt x="99915" y="64660"/>
                    <a:pt x="99008" y="70102"/>
                    <a:pt x="97194" y="74638"/>
                  </a:cubicBezTo>
                  <a:cubicBezTo>
                    <a:pt x="98101" y="83710"/>
                    <a:pt x="93565" y="91874"/>
                    <a:pt x="89030" y="100038"/>
                  </a:cubicBezTo>
                  <a:cubicBezTo>
                    <a:pt x="86308" y="101852"/>
                    <a:pt x="84494" y="107295"/>
                    <a:pt x="80865" y="106388"/>
                  </a:cubicBezTo>
                  <a:cubicBezTo>
                    <a:pt x="73608" y="108202"/>
                    <a:pt x="72701" y="119088"/>
                    <a:pt x="64537" y="118181"/>
                  </a:cubicBezTo>
                  <a:cubicBezTo>
                    <a:pt x="59094" y="122717"/>
                    <a:pt x="51837" y="119995"/>
                    <a:pt x="44580" y="119995"/>
                  </a:cubicBezTo>
                  <a:cubicBezTo>
                    <a:pt x="40951" y="118181"/>
                    <a:pt x="35508" y="118181"/>
                    <a:pt x="32787" y="115460"/>
                  </a:cubicBezTo>
                  <a:cubicBezTo>
                    <a:pt x="26437" y="112738"/>
                    <a:pt x="20087" y="108202"/>
                    <a:pt x="14644" y="102760"/>
                  </a:cubicBezTo>
                  <a:cubicBezTo>
                    <a:pt x="12830" y="97317"/>
                    <a:pt x="7387" y="95502"/>
                    <a:pt x="7387" y="90060"/>
                  </a:cubicBezTo>
                  <a:cubicBezTo>
                    <a:pt x="9201" y="83710"/>
                    <a:pt x="5572" y="77360"/>
                    <a:pt x="7387" y="71010"/>
                  </a:cubicBezTo>
                  <a:lnTo>
                    <a:pt x="6480" y="60124"/>
                  </a:lnTo>
                  <a:lnTo>
                    <a:pt x="11015" y="41074"/>
                  </a:lnTo>
                  <a:cubicBezTo>
                    <a:pt x="18272" y="37445"/>
                    <a:pt x="16458" y="28374"/>
                    <a:pt x="22808" y="25652"/>
                  </a:cubicBezTo>
                  <a:cubicBezTo>
                    <a:pt x="27344" y="15674"/>
                    <a:pt x="38230" y="12952"/>
                    <a:pt x="46394" y="8417"/>
                  </a:cubicBezTo>
                  <a:cubicBezTo>
                    <a:pt x="49115" y="7510"/>
                    <a:pt x="53651" y="9324"/>
                    <a:pt x="55465" y="6602"/>
                  </a:cubicBezTo>
                  <a:cubicBezTo>
                    <a:pt x="59094" y="5695"/>
                    <a:pt x="62722" y="10231"/>
                    <a:pt x="67258" y="6602"/>
                  </a:cubicBezTo>
                </a:path>
              </a:pathLst>
            </a:custGeom>
            <a:solidFill>
              <a:srgbClr val="E30613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5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30" name="Freeform: Shape 13">
              <a:extLst>
                <a:ext uri="{FF2B5EF4-FFF2-40B4-BE49-F238E27FC236}">
                  <a16:creationId xmlns:a16="http://schemas.microsoft.com/office/drawing/2014/main" id="{E0F9B5EE-E546-415E-8DEC-AFA705B16CE0}"/>
                </a:ext>
              </a:extLst>
            </p:cNvPr>
            <p:cNvSpPr/>
            <p:nvPr/>
          </p:nvSpPr>
          <p:spPr>
            <a:xfrm>
              <a:off x="12712205" y="7768505"/>
              <a:ext cx="535214" cy="435428"/>
            </a:xfrm>
            <a:custGeom>
              <a:avLst/>
              <a:gdLst>
                <a:gd name="connsiteX0" fmla="*/ 475472 w 535214"/>
                <a:gd name="connsiteY0" fmla="*/ 14644 h 435428"/>
                <a:gd name="connsiteX1" fmla="*/ 434651 w 535214"/>
                <a:gd name="connsiteY1" fmla="*/ 93565 h 435428"/>
                <a:gd name="connsiteX2" fmla="*/ 405622 w 535214"/>
                <a:gd name="connsiteY2" fmla="*/ 132572 h 435428"/>
                <a:gd name="connsiteX3" fmla="*/ 381130 w 535214"/>
                <a:gd name="connsiteY3" fmla="*/ 161601 h 435428"/>
                <a:gd name="connsiteX4" fmla="*/ 394737 w 535214"/>
                <a:gd name="connsiteY4" fmla="*/ 176115 h 435428"/>
                <a:gd name="connsiteX5" fmla="*/ 413787 w 535214"/>
                <a:gd name="connsiteY5" fmla="*/ 200608 h 435428"/>
                <a:gd name="connsiteX6" fmla="*/ 424672 w 535214"/>
                <a:gd name="connsiteY6" fmla="*/ 206958 h 435428"/>
                <a:gd name="connsiteX7" fmla="*/ 455515 w 535214"/>
                <a:gd name="connsiteY7" fmla="*/ 245965 h 435428"/>
                <a:gd name="connsiteX8" fmla="*/ 463680 w 535214"/>
                <a:gd name="connsiteY8" fmla="*/ 259572 h 435428"/>
                <a:gd name="connsiteX9" fmla="*/ 485451 w 535214"/>
                <a:gd name="connsiteY9" fmla="*/ 294044 h 435428"/>
                <a:gd name="connsiteX10" fmla="*/ 500872 w 535214"/>
                <a:gd name="connsiteY10" fmla="*/ 327608 h 435428"/>
                <a:gd name="connsiteX11" fmla="*/ 511758 w 535214"/>
                <a:gd name="connsiteY11" fmla="*/ 347565 h 435428"/>
                <a:gd name="connsiteX12" fmla="*/ 531715 w 535214"/>
                <a:gd name="connsiteY12" fmla="*/ 392922 h 435428"/>
                <a:gd name="connsiteX13" fmla="*/ 529901 w 535214"/>
                <a:gd name="connsiteY13" fmla="*/ 401994 h 435428"/>
                <a:gd name="connsiteX14" fmla="*/ 520830 w 535214"/>
                <a:gd name="connsiteY14" fmla="*/ 401087 h 435428"/>
                <a:gd name="connsiteX15" fmla="*/ 468215 w 535214"/>
                <a:gd name="connsiteY15" fmla="*/ 374779 h 435428"/>
                <a:gd name="connsiteX16" fmla="*/ 414694 w 535214"/>
                <a:gd name="connsiteY16" fmla="*/ 335772 h 435428"/>
                <a:gd name="connsiteX17" fmla="*/ 399272 w 535214"/>
                <a:gd name="connsiteY17" fmla="*/ 323072 h 435428"/>
                <a:gd name="connsiteX18" fmla="*/ 353008 w 535214"/>
                <a:gd name="connsiteY18" fmla="*/ 288601 h 435428"/>
                <a:gd name="connsiteX19" fmla="*/ 330330 w 535214"/>
                <a:gd name="connsiteY19" fmla="*/ 271365 h 435428"/>
                <a:gd name="connsiteX20" fmla="*/ 316722 w 535214"/>
                <a:gd name="connsiteY20" fmla="*/ 262294 h 435428"/>
                <a:gd name="connsiteX21" fmla="*/ 280437 w 535214"/>
                <a:gd name="connsiteY21" fmla="*/ 236894 h 435428"/>
                <a:gd name="connsiteX22" fmla="*/ 279530 w 535214"/>
                <a:gd name="connsiteY22" fmla="*/ 243244 h 435428"/>
                <a:gd name="connsiteX23" fmla="*/ 267737 w 535214"/>
                <a:gd name="connsiteY23" fmla="*/ 273180 h 435428"/>
                <a:gd name="connsiteX24" fmla="*/ 255037 w 535214"/>
                <a:gd name="connsiteY24" fmla="*/ 307651 h 435428"/>
                <a:gd name="connsiteX25" fmla="*/ 225101 w 535214"/>
                <a:gd name="connsiteY25" fmla="*/ 363894 h 435428"/>
                <a:gd name="connsiteX26" fmla="*/ 182465 w 535214"/>
                <a:gd name="connsiteY26" fmla="*/ 421044 h 435428"/>
                <a:gd name="connsiteX27" fmla="*/ 167044 w 535214"/>
                <a:gd name="connsiteY27" fmla="*/ 432837 h 435428"/>
                <a:gd name="connsiteX28" fmla="*/ 160694 w 535214"/>
                <a:gd name="connsiteY28" fmla="*/ 429208 h 435428"/>
                <a:gd name="connsiteX29" fmla="*/ 157972 w 535214"/>
                <a:gd name="connsiteY29" fmla="*/ 412879 h 435428"/>
                <a:gd name="connsiteX30" fmla="*/ 160694 w 535214"/>
                <a:gd name="connsiteY30" fmla="*/ 392015 h 435428"/>
                <a:gd name="connsiteX31" fmla="*/ 159787 w 535214"/>
                <a:gd name="connsiteY31" fmla="*/ 389294 h 435428"/>
                <a:gd name="connsiteX32" fmla="*/ 162508 w 535214"/>
                <a:gd name="connsiteY32" fmla="*/ 361172 h 435428"/>
                <a:gd name="connsiteX33" fmla="*/ 167044 w 535214"/>
                <a:gd name="connsiteY33" fmla="*/ 341215 h 435428"/>
                <a:gd name="connsiteX34" fmla="*/ 173394 w 535214"/>
                <a:gd name="connsiteY34" fmla="*/ 314908 h 435428"/>
                <a:gd name="connsiteX35" fmla="*/ 177022 w 535214"/>
                <a:gd name="connsiteY35" fmla="*/ 296765 h 435428"/>
                <a:gd name="connsiteX36" fmla="*/ 186094 w 535214"/>
                <a:gd name="connsiteY36" fmla="*/ 279530 h 435428"/>
                <a:gd name="connsiteX37" fmla="*/ 187001 w 535214"/>
                <a:gd name="connsiteY37" fmla="*/ 267737 h 435428"/>
                <a:gd name="connsiteX38" fmla="*/ 205144 w 535214"/>
                <a:gd name="connsiteY38" fmla="*/ 213308 h 435428"/>
                <a:gd name="connsiteX39" fmla="*/ 202422 w 535214"/>
                <a:gd name="connsiteY39" fmla="*/ 211494 h 435428"/>
                <a:gd name="connsiteX40" fmla="*/ 165230 w 535214"/>
                <a:gd name="connsiteY40" fmla="*/ 210587 h 435428"/>
                <a:gd name="connsiteX41" fmla="*/ 106265 w 535214"/>
                <a:gd name="connsiteY41" fmla="*/ 203330 h 435428"/>
                <a:gd name="connsiteX42" fmla="*/ 81772 w 535214"/>
                <a:gd name="connsiteY42" fmla="*/ 197887 h 435428"/>
                <a:gd name="connsiteX43" fmla="*/ 67258 w 535214"/>
                <a:gd name="connsiteY43" fmla="*/ 196980 h 435428"/>
                <a:gd name="connsiteX44" fmla="*/ 38230 w 535214"/>
                <a:gd name="connsiteY44" fmla="*/ 187908 h 435428"/>
                <a:gd name="connsiteX45" fmla="*/ 20087 w 535214"/>
                <a:gd name="connsiteY45" fmla="*/ 183372 h 435428"/>
                <a:gd name="connsiteX46" fmla="*/ 6480 w 535214"/>
                <a:gd name="connsiteY46" fmla="*/ 175208 h 435428"/>
                <a:gd name="connsiteX47" fmla="*/ 6480 w 535214"/>
                <a:gd name="connsiteY47" fmla="*/ 173394 h 435428"/>
                <a:gd name="connsiteX48" fmla="*/ 50930 w 535214"/>
                <a:gd name="connsiteY48" fmla="*/ 147994 h 435428"/>
                <a:gd name="connsiteX49" fmla="*/ 100822 w 535214"/>
                <a:gd name="connsiteY49" fmla="*/ 138922 h 435428"/>
                <a:gd name="connsiteX50" fmla="*/ 132572 w 535214"/>
                <a:gd name="connsiteY50" fmla="*/ 138015 h 435428"/>
                <a:gd name="connsiteX51" fmla="*/ 187908 w 535214"/>
                <a:gd name="connsiteY51" fmla="*/ 141644 h 435428"/>
                <a:gd name="connsiteX52" fmla="*/ 206051 w 535214"/>
                <a:gd name="connsiteY52" fmla="*/ 145272 h 435428"/>
                <a:gd name="connsiteX53" fmla="*/ 206051 w 535214"/>
                <a:gd name="connsiteY53" fmla="*/ 142551 h 435428"/>
                <a:gd name="connsiteX54" fmla="*/ 188815 w 535214"/>
                <a:gd name="connsiteY54" fmla="*/ 118965 h 435428"/>
                <a:gd name="connsiteX55" fmla="*/ 166137 w 535214"/>
                <a:gd name="connsiteY55" fmla="*/ 73608 h 435428"/>
                <a:gd name="connsiteX56" fmla="*/ 162508 w 535214"/>
                <a:gd name="connsiteY56" fmla="*/ 56372 h 435428"/>
                <a:gd name="connsiteX57" fmla="*/ 165230 w 535214"/>
                <a:gd name="connsiteY57" fmla="*/ 50022 h 435428"/>
                <a:gd name="connsiteX58" fmla="*/ 177022 w 535214"/>
                <a:gd name="connsiteY58" fmla="*/ 48208 h 435428"/>
                <a:gd name="connsiteX59" fmla="*/ 209680 w 535214"/>
                <a:gd name="connsiteY59" fmla="*/ 57280 h 435428"/>
                <a:gd name="connsiteX60" fmla="*/ 244151 w 535214"/>
                <a:gd name="connsiteY60" fmla="*/ 74515 h 435428"/>
                <a:gd name="connsiteX61" fmla="*/ 283158 w 535214"/>
                <a:gd name="connsiteY61" fmla="*/ 104451 h 435428"/>
                <a:gd name="connsiteX62" fmla="*/ 293137 w 535214"/>
                <a:gd name="connsiteY62" fmla="*/ 106265 h 435428"/>
                <a:gd name="connsiteX63" fmla="*/ 299487 w 535214"/>
                <a:gd name="connsiteY63" fmla="*/ 100822 h 435428"/>
                <a:gd name="connsiteX64" fmla="*/ 342122 w 535214"/>
                <a:gd name="connsiteY64" fmla="*/ 78144 h 435428"/>
                <a:gd name="connsiteX65" fmla="*/ 360265 w 535214"/>
                <a:gd name="connsiteY65" fmla="*/ 64537 h 435428"/>
                <a:gd name="connsiteX66" fmla="*/ 372965 w 535214"/>
                <a:gd name="connsiteY66" fmla="*/ 59094 h 435428"/>
                <a:gd name="connsiteX67" fmla="*/ 396551 w 535214"/>
                <a:gd name="connsiteY67" fmla="*/ 42765 h 435428"/>
                <a:gd name="connsiteX68" fmla="*/ 408344 w 535214"/>
                <a:gd name="connsiteY68" fmla="*/ 37322 h 435428"/>
                <a:gd name="connsiteX69" fmla="*/ 449165 w 535214"/>
                <a:gd name="connsiteY69" fmla="*/ 14644 h 435428"/>
                <a:gd name="connsiteX70" fmla="*/ 467308 w 535214"/>
                <a:gd name="connsiteY70" fmla="*/ 6480 h 435428"/>
                <a:gd name="connsiteX71" fmla="*/ 475472 w 535214"/>
                <a:gd name="connsiteY71" fmla="*/ 14644 h 43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5214" h="435428">
                  <a:moveTo>
                    <a:pt x="475472" y="14644"/>
                  </a:moveTo>
                  <a:cubicBezTo>
                    <a:pt x="473658" y="45487"/>
                    <a:pt x="448258" y="67258"/>
                    <a:pt x="434651" y="93565"/>
                  </a:cubicBezTo>
                  <a:cubicBezTo>
                    <a:pt x="429208" y="108987"/>
                    <a:pt x="415601" y="118965"/>
                    <a:pt x="405622" y="132572"/>
                  </a:cubicBezTo>
                  <a:cubicBezTo>
                    <a:pt x="396551" y="141644"/>
                    <a:pt x="388387" y="151622"/>
                    <a:pt x="381130" y="161601"/>
                  </a:cubicBezTo>
                  <a:cubicBezTo>
                    <a:pt x="382037" y="168858"/>
                    <a:pt x="390201" y="170672"/>
                    <a:pt x="394737" y="176115"/>
                  </a:cubicBezTo>
                  <a:cubicBezTo>
                    <a:pt x="403808" y="182465"/>
                    <a:pt x="404715" y="193351"/>
                    <a:pt x="413787" y="200608"/>
                  </a:cubicBezTo>
                  <a:cubicBezTo>
                    <a:pt x="419230" y="200608"/>
                    <a:pt x="419230" y="207865"/>
                    <a:pt x="424672" y="206958"/>
                  </a:cubicBezTo>
                  <a:cubicBezTo>
                    <a:pt x="436465" y="219658"/>
                    <a:pt x="445537" y="232358"/>
                    <a:pt x="455515" y="245965"/>
                  </a:cubicBezTo>
                  <a:cubicBezTo>
                    <a:pt x="457330" y="250501"/>
                    <a:pt x="459144" y="255944"/>
                    <a:pt x="463680" y="259572"/>
                  </a:cubicBezTo>
                  <a:cubicBezTo>
                    <a:pt x="471844" y="270458"/>
                    <a:pt x="478194" y="283158"/>
                    <a:pt x="485451" y="294044"/>
                  </a:cubicBezTo>
                  <a:cubicBezTo>
                    <a:pt x="486358" y="306744"/>
                    <a:pt x="497244" y="315815"/>
                    <a:pt x="500872" y="327608"/>
                  </a:cubicBezTo>
                  <a:cubicBezTo>
                    <a:pt x="505408" y="333958"/>
                    <a:pt x="508130" y="341215"/>
                    <a:pt x="511758" y="347565"/>
                  </a:cubicBezTo>
                  <a:cubicBezTo>
                    <a:pt x="519015" y="362987"/>
                    <a:pt x="523551" y="378408"/>
                    <a:pt x="531715" y="392922"/>
                  </a:cubicBezTo>
                  <a:cubicBezTo>
                    <a:pt x="533530" y="396551"/>
                    <a:pt x="531715" y="399272"/>
                    <a:pt x="529901" y="401994"/>
                  </a:cubicBezTo>
                  <a:cubicBezTo>
                    <a:pt x="527180" y="404715"/>
                    <a:pt x="524458" y="400179"/>
                    <a:pt x="520830" y="401087"/>
                  </a:cubicBezTo>
                  <a:cubicBezTo>
                    <a:pt x="502687" y="394737"/>
                    <a:pt x="485451" y="384758"/>
                    <a:pt x="468215" y="374779"/>
                  </a:cubicBezTo>
                  <a:cubicBezTo>
                    <a:pt x="450980" y="361172"/>
                    <a:pt x="431930" y="351194"/>
                    <a:pt x="414694" y="335772"/>
                  </a:cubicBezTo>
                  <a:cubicBezTo>
                    <a:pt x="408344" y="333958"/>
                    <a:pt x="405622" y="326701"/>
                    <a:pt x="399272" y="323072"/>
                  </a:cubicBezTo>
                  <a:cubicBezTo>
                    <a:pt x="382944" y="313094"/>
                    <a:pt x="369337" y="298580"/>
                    <a:pt x="353008" y="288601"/>
                  </a:cubicBezTo>
                  <a:cubicBezTo>
                    <a:pt x="345751" y="283158"/>
                    <a:pt x="337587" y="277715"/>
                    <a:pt x="330330" y="271365"/>
                  </a:cubicBezTo>
                  <a:cubicBezTo>
                    <a:pt x="324887" y="270458"/>
                    <a:pt x="323072" y="264108"/>
                    <a:pt x="316722" y="262294"/>
                  </a:cubicBezTo>
                  <a:cubicBezTo>
                    <a:pt x="304022" y="255037"/>
                    <a:pt x="293137" y="244151"/>
                    <a:pt x="280437" y="236894"/>
                  </a:cubicBezTo>
                  <a:cubicBezTo>
                    <a:pt x="279530" y="238708"/>
                    <a:pt x="280437" y="241430"/>
                    <a:pt x="279530" y="243244"/>
                  </a:cubicBezTo>
                  <a:cubicBezTo>
                    <a:pt x="271365" y="251408"/>
                    <a:pt x="273180" y="264108"/>
                    <a:pt x="267737" y="273180"/>
                  </a:cubicBezTo>
                  <a:cubicBezTo>
                    <a:pt x="267737" y="285880"/>
                    <a:pt x="258665" y="295858"/>
                    <a:pt x="255037" y="307651"/>
                  </a:cubicBezTo>
                  <a:cubicBezTo>
                    <a:pt x="245058" y="325794"/>
                    <a:pt x="235987" y="345751"/>
                    <a:pt x="225101" y="363894"/>
                  </a:cubicBezTo>
                  <a:cubicBezTo>
                    <a:pt x="210587" y="382944"/>
                    <a:pt x="203330" y="405622"/>
                    <a:pt x="182465" y="421044"/>
                  </a:cubicBezTo>
                  <a:cubicBezTo>
                    <a:pt x="177930" y="426487"/>
                    <a:pt x="172487" y="429208"/>
                    <a:pt x="167044" y="432837"/>
                  </a:cubicBezTo>
                  <a:cubicBezTo>
                    <a:pt x="164322" y="431929"/>
                    <a:pt x="161601" y="432837"/>
                    <a:pt x="160694" y="429208"/>
                  </a:cubicBezTo>
                  <a:cubicBezTo>
                    <a:pt x="157972" y="424672"/>
                    <a:pt x="161601" y="417415"/>
                    <a:pt x="157972" y="412879"/>
                  </a:cubicBezTo>
                  <a:cubicBezTo>
                    <a:pt x="160694" y="406529"/>
                    <a:pt x="158880" y="399272"/>
                    <a:pt x="160694" y="392015"/>
                  </a:cubicBezTo>
                  <a:lnTo>
                    <a:pt x="159787" y="389294"/>
                  </a:lnTo>
                  <a:cubicBezTo>
                    <a:pt x="159787" y="379315"/>
                    <a:pt x="165230" y="371151"/>
                    <a:pt x="162508" y="361172"/>
                  </a:cubicBezTo>
                  <a:cubicBezTo>
                    <a:pt x="165230" y="354822"/>
                    <a:pt x="166137" y="348472"/>
                    <a:pt x="167044" y="341215"/>
                  </a:cubicBezTo>
                  <a:cubicBezTo>
                    <a:pt x="169765" y="333051"/>
                    <a:pt x="172487" y="323979"/>
                    <a:pt x="173394" y="314908"/>
                  </a:cubicBezTo>
                  <a:cubicBezTo>
                    <a:pt x="176115" y="309465"/>
                    <a:pt x="177022" y="303115"/>
                    <a:pt x="177022" y="296765"/>
                  </a:cubicBezTo>
                  <a:cubicBezTo>
                    <a:pt x="179744" y="291322"/>
                    <a:pt x="179744" y="284065"/>
                    <a:pt x="186094" y="279530"/>
                  </a:cubicBezTo>
                  <a:cubicBezTo>
                    <a:pt x="187001" y="275901"/>
                    <a:pt x="186094" y="272272"/>
                    <a:pt x="187001" y="267737"/>
                  </a:cubicBezTo>
                  <a:cubicBezTo>
                    <a:pt x="193351" y="249594"/>
                    <a:pt x="200608" y="232358"/>
                    <a:pt x="205144" y="213308"/>
                  </a:cubicBezTo>
                  <a:cubicBezTo>
                    <a:pt x="205144" y="212401"/>
                    <a:pt x="204237" y="211494"/>
                    <a:pt x="202422" y="211494"/>
                  </a:cubicBezTo>
                  <a:cubicBezTo>
                    <a:pt x="189722" y="210587"/>
                    <a:pt x="177022" y="213308"/>
                    <a:pt x="165230" y="210587"/>
                  </a:cubicBezTo>
                  <a:cubicBezTo>
                    <a:pt x="145272" y="210587"/>
                    <a:pt x="125315" y="207865"/>
                    <a:pt x="106265" y="203330"/>
                  </a:cubicBezTo>
                  <a:cubicBezTo>
                    <a:pt x="99008" y="201515"/>
                    <a:pt x="89030" y="202422"/>
                    <a:pt x="81772" y="197887"/>
                  </a:cubicBezTo>
                  <a:cubicBezTo>
                    <a:pt x="77237" y="197887"/>
                    <a:pt x="71794" y="198794"/>
                    <a:pt x="67258" y="196980"/>
                  </a:cubicBezTo>
                  <a:cubicBezTo>
                    <a:pt x="58187" y="192444"/>
                    <a:pt x="47301" y="193351"/>
                    <a:pt x="38230" y="187908"/>
                  </a:cubicBezTo>
                  <a:cubicBezTo>
                    <a:pt x="30972" y="188815"/>
                    <a:pt x="26437" y="184280"/>
                    <a:pt x="20087" y="183372"/>
                  </a:cubicBezTo>
                  <a:cubicBezTo>
                    <a:pt x="13737" y="184280"/>
                    <a:pt x="11015" y="178837"/>
                    <a:pt x="6480" y="175208"/>
                  </a:cubicBezTo>
                  <a:lnTo>
                    <a:pt x="6480" y="173394"/>
                  </a:lnTo>
                  <a:cubicBezTo>
                    <a:pt x="17365" y="157972"/>
                    <a:pt x="35508" y="154344"/>
                    <a:pt x="50930" y="147994"/>
                  </a:cubicBezTo>
                  <a:cubicBezTo>
                    <a:pt x="66351" y="143458"/>
                    <a:pt x="84494" y="142551"/>
                    <a:pt x="100822" y="138922"/>
                  </a:cubicBezTo>
                  <a:cubicBezTo>
                    <a:pt x="110801" y="137108"/>
                    <a:pt x="122594" y="139830"/>
                    <a:pt x="132572" y="138015"/>
                  </a:cubicBezTo>
                  <a:cubicBezTo>
                    <a:pt x="151622" y="138922"/>
                    <a:pt x="169765" y="141644"/>
                    <a:pt x="187908" y="141644"/>
                  </a:cubicBezTo>
                  <a:cubicBezTo>
                    <a:pt x="194258" y="142551"/>
                    <a:pt x="199701" y="145272"/>
                    <a:pt x="206051" y="145272"/>
                  </a:cubicBezTo>
                  <a:lnTo>
                    <a:pt x="206051" y="142551"/>
                  </a:lnTo>
                  <a:lnTo>
                    <a:pt x="188815" y="118965"/>
                  </a:lnTo>
                  <a:cubicBezTo>
                    <a:pt x="182465" y="103544"/>
                    <a:pt x="169765" y="89937"/>
                    <a:pt x="166137" y="73608"/>
                  </a:cubicBezTo>
                  <a:cubicBezTo>
                    <a:pt x="162508" y="69072"/>
                    <a:pt x="166137" y="61815"/>
                    <a:pt x="162508" y="56372"/>
                  </a:cubicBezTo>
                  <a:cubicBezTo>
                    <a:pt x="162508" y="53651"/>
                    <a:pt x="164322" y="51837"/>
                    <a:pt x="165230" y="50022"/>
                  </a:cubicBezTo>
                  <a:cubicBezTo>
                    <a:pt x="168858" y="48208"/>
                    <a:pt x="173394" y="50930"/>
                    <a:pt x="177022" y="48208"/>
                  </a:cubicBezTo>
                  <a:cubicBezTo>
                    <a:pt x="188815" y="50930"/>
                    <a:pt x="198794" y="54558"/>
                    <a:pt x="209680" y="57280"/>
                  </a:cubicBezTo>
                  <a:cubicBezTo>
                    <a:pt x="221472" y="61815"/>
                    <a:pt x="233265" y="66351"/>
                    <a:pt x="244151" y="74515"/>
                  </a:cubicBezTo>
                  <a:cubicBezTo>
                    <a:pt x="256851" y="83587"/>
                    <a:pt x="273180" y="89937"/>
                    <a:pt x="283158" y="104451"/>
                  </a:cubicBezTo>
                  <a:cubicBezTo>
                    <a:pt x="285880" y="107172"/>
                    <a:pt x="290415" y="107172"/>
                    <a:pt x="293137" y="106265"/>
                  </a:cubicBezTo>
                  <a:cubicBezTo>
                    <a:pt x="295858" y="105358"/>
                    <a:pt x="296765" y="101730"/>
                    <a:pt x="299487" y="100822"/>
                  </a:cubicBezTo>
                  <a:cubicBezTo>
                    <a:pt x="313094" y="91751"/>
                    <a:pt x="328515" y="87215"/>
                    <a:pt x="342122" y="78144"/>
                  </a:cubicBezTo>
                  <a:cubicBezTo>
                    <a:pt x="347565" y="72701"/>
                    <a:pt x="356637" y="71794"/>
                    <a:pt x="360265" y="64537"/>
                  </a:cubicBezTo>
                  <a:cubicBezTo>
                    <a:pt x="364801" y="62722"/>
                    <a:pt x="368430" y="60001"/>
                    <a:pt x="372965" y="59094"/>
                  </a:cubicBezTo>
                  <a:cubicBezTo>
                    <a:pt x="381130" y="53651"/>
                    <a:pt x="388387" y="47301"/>
                    <a:pt x="396551" y="42765"/>
                  </a:cubicBezTo>
                  <a:cubicBezTo>
                    <a:pt x="401087" y="41858"/>
                    <a:pt x="404715" y="40044"/>
                    <a:pt x="408344" y="37322"/>
                  </a:cubicBezTo>
                  <a:cubicBezTo>
                    <a:pt x="421951" y="30065"/>
                    <a:pt x="436465" y="23715"/>
                    <a:pt x="449165" y="14644"/>
                  </a:cubicBezTo>
                  <a:cubicBezTo>
                    <a:pt x="451887" y="6480"/>
                    <a:pt x="460958" y="8294"/>
                    <a:pt x="467308" y="6480"/>
                  </a:cubicBezTo>
                  <a:cubicBezTo>
                    <a:pt x="470030" y="11015"/>
                    <a:pt x="474565" y="10108"/>
                    <a:pt x="475472" y="14644"/>
                  </a:cubicBezTo>
                </a:path>
              </a:pathLst>
            </a:custGeom>
            <a:solidFill>
              <a:srgbClr val="0BBBEF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5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  <p:sp>
          <p:nvSpPr>
            <p:cNvPr id="31" name="Freeform: Shape 14">
              <a:extLst>
                <a:ext uri="{FF2B5EF4-FFF2-40B4-BE49-F238E27FC236}">
                  <a16:creationId xmlns:a16="http://schemas.microsoft.com/office/drawing/2014/main" id="{894C5CE3-9848-468E-8740-AE48EF1F0C5E}"/>
                </a:ext>
              </a:extLst>
            </p:cNvPr>
            <p:cNvSpPr/>
            <p:nvPr/>
          </p:nvSpPr>
          <p:spPr>
            <a:xfrm>
              <a:off x="13332693" y="7812048"/>
              <a:ext cx="1478643" cy="344714"/>
            </a:xfrm>
            <a:custGeom>
              <a:avLst/>
              <a:gdLst>
                <a:gd name="connsiteX0" fmla="*/ 1090515 w 1478642"/>
                <a:gd name="connsiteY0" fmla="*/ 245965 h 344714"/>
                <a:gd name="connsiteX1" fmla="*/ 1066930 w 1478642"/>
                <a:gd name="connsiteY1" fmla="*/ 252315 h 344714"/>
                <a:gd name="connsiteX2" fmla="*/ 1039715 w 1478642"/>
                <a:gd name="connsiteY2" fmla="*/ 223287 h 344714"/>
                <a:gd name="connsiteX3" fmla="*/ 1073280 w 1478642"/>
                <a:gd name="connsiteY3" fmla="*/ 192444 h 344714"/>
                <a:gd name="connsiteX4" fmla="*/ 1090515 w 1478642"/>
                <a:gd name="connsiteY4" fmla="*/ 194258 h 344714"/>
                <a:gd name="connsiteX5" fmla="*/ 1090515 w 1478642"/>
                <a:gd name="connsiteY5" fmla="*/ 245965 h 344714"/>
                <a:gd name="connsiteX6" fmla="*/ 1028830 w 1478642"/>
                <a:gd name="connsiteY6" fmla="*/ 158880 h 344714"/>
                <a:gd name="connsiteX7" fmla="*/ 1064208 w 1478642"/>
                <a:gd name="connsiteY7" fmla="*/ 139830 h 344714"/>
                <a:gd name="connsiteX8" fmla="*/ 1089608 w 1478642"/>
                <a:gd name="connsiteY8" fmla="*/ 180651 h 344714"/>
                <a:gd name="connsiteX9" fmla="*/ 1073280 w 1478642"/>
                <a:gd name="connsiteY9" fmla="*/ 179744 h 344714"/>
                <a:gd name="connsiteX10" fmla="*/ 1005244 w 1478642"/>
                <a:gd name="connsiteY10" fmla="*/ 231451 h 344714"/>
                <a:gd name="connsiteX11" fmla="*/ 1053322 w 1478642"/>
                <a:gd name="connsiteY11" fmla="*/ 272272 h 344714"/>
                <a:gd name="connsiteX12" fmla="*/ 1092330 w 1478642"/>
                <a:gd name="connsiteY12" fmla="*/ 255037 h 344714"/>
                <a:gd name="connsiteX13" fmla="*/ 1120451 w 1478642"/>
                <a:gd name="connsiteY13" fmla="*/ 272272 h 344714"/>
                <a:gd name="connsiteX14" fmla="*/ 1146758 w 1478642"/>
                <a:gd name="connsiteY14" fmla="*/ 251408 h 344714"/>
                <a:gd name="connsiteX15" fmla="*/ 1141315 w 1478642"/>
                <a:gd name="connsiteY15" fmla="*/ 245965 h 344714"/>
                <a:gd name="connsiteX16" fmla="*/ 1134058 w 1478642"/>
                <a:gd name="connsiteY16" fmla="*/ 247780 h 344714"/>
                <a:gd name="connsiteX17" fmla="*/ 1123173 w 1478642"/>
                <a:gd name="connsiteY17" fmla="*/ 226915 h 344714"/>
                <a:gd name="connsiteX18" fmla="*/ 1123173 w 1478642"/>
                <a:gd name="connsiteY18" fmla="*/ 214215 h 344714"/>
                <a:gd name="connsiteX19" fmla="*/ 1124987 w 1478642"/>
                <a:gd name="connsiteY19" fmla="*/ 162508 h 344714"/>
                <a:gd name="connsiteX20" fmla="*/ 1066930 w 1478642"/>
                <a:gd name="connsiteY20" fmla="*/ 118965 h 344714"/>
                <a:gd name="connsiteX21" fmla="*/ 1021572 w 1478642"/>
                <a:gd name="connsiteY21" fmla="*/ 125315 h 344714"/>
                <a:gd name="connsiteX22" fmla="*/ 1021572 w 1478642"/>
                <a:gd name="connsiteY22" fmla="*/ 158880 h 344714"/>
                <a:gd name="connsiteX23" fmla="*/ 1028830 w 1478642"/>
                <a:gd name="connsiteY23" fmla="*/ 158880 h 344714"/>
                <a:gd name="connsiteX24" fmla="*/ 237801 w 1478642"/>
                <a:gd name="connsiteY24" fmla="*/ 20994 h 344714"/>
                <a:gd name="connsiteX25" fmla="*/ 146180 w 1478642"/>
                <a:gd name="connsiteY25" fmla="*/ 6480 h 344714"/>
                <a:gd name="connsiteX26" fmla="*/ 6480 w 1478642"/>
                <a:gd name="connsiteY26" fmla="*/ 137108 h 344714"/>
                <a:gd name="connsiteX27" fmla="*/ 162508 w 1478642"/>
                <a:gd name="connsiteY27" fmla="*/ 269551 h 344714"/>
                <a:gd name="connsiteX28" fmla="*/ 233265 w 1478642"/>
                <a:gd name="connsiteY28" fmla="*/ 261387 h 344714"/>
                <a:gd name="connsiteX29" fmla="*/ 244151 w 1478642"/>
                <a:gd name="connsiteY29" fmla="*/ 221472 h 344714"/>
                <a:gd name="connsiteX30" fmla="*/ 233265 w 1478642"/>
                <a:gd name="connsiteY30" fmla="*/ 216937 h 344714"/>
                <a:gd name="connsiteX31" fmla="*/ 161601 w 1478642"/>
                <a:gd name="connsiteY31" fmla="*/ 255037 h 344714"/>
                <a:gd name="connsiteX32" fmla="*/ 57280 w 1478642"/>
                <a:gd name="connsiteY32" fmla="*/ 135294 h 344714"/>
                <a:gd name="connsiteX33" fmla="*/ 147087 w 1478642"/>
                <a:gd name="connsiteY33" fmla="*/ 23715 h 344714"/>
                <a:gd name="connsiteX34" fmla="*/ 225101 w 1478642"/>
                <a:gd name="connsiteY34" fmla="*/ 71794 h 344714"/>
                <a:gd name="connsiteX35" fmla="*/ 240522 w 1478642"/>
                <a:gd name="connsiteY35" fmla="*/ 71794 h 344714"/>
                <a:gd name="connsiteX36" fmla="*/ 237801 w 1478642"/>
                <a:gd name="connsiteY36" fmla="*/ 20994 h 344714"/>
                <a:gd name="connsiteX37" fmla="*/ 281344 w 1478642"/>
                <a:gd name="connsiteY37" fmla="*/ 158880 h 344714"/>
                <a:gd name="connsiteX38" fmla="*/ 281344 w 1478642"/>
                <a:gd name="connsiteY38" fmla="*/ 125315 h 344714"/>
                <a:gd name="connsiteX39" fmla="*/ 327608 w 1478642"/>
                <a:gd name="connsiteY39" fmla="*/ 118965 h 344714"/>
                <a:gd name="connsiteX40" fmla="*/ 386572 w 1478642"/>
                <a:gd name="connsiteY40" fmla="*/ 163415 h 344714"/>
                <a:gd name="connsiteX41" fmla="*/ 385665 w 1478642"/>
                <a:gd name="connsiteY41" fmla="*/ 215122 h 344714"/>
                <a:gd name="connsiteX42" fmla="*/ 385665 w 1478642"/>
                <a:gd name="connsiteY42" fmla="*/ 227822 h 344714"/>
                <a:gd name="connsiteX43" fmla="*/ 396551 w 1478642"/>
                <a:gd name="connsiteY43" fmla="*/ 248687 h 344714"/>
                <a:gd name="connsiteX44" fmla="*/ 403808 w 1478642"/>
                <a:gd name="connsiteY44" fmla="*/ 246872 h 344714"/>
                <a:gd name="connsiteX45" fmla="*/ 409251 w 1478642"/>
                <a:gd name="connsiteY45" fmla="*/ 252315 h 344714"/>
                <a:gd name="connsiteX46" fmla="*/ 382944 w 1478642"/>
                <a:gd name="connsiteY46" fmla="*/ 274087 h 344714"/>
                <a:gd name="connsiteX47" fmla="*/ 354822 w 1478642"/>
                <a:gd name="connsiteY47" fmla="*/ 256851 h 344714"/>
                <a:gd name="connsiteX48" fmla="*/ 315815 w 1478642"/>
                <a:gd name="connsiteY48" fmla="*/ 274087 h 344714"/>
                <a:gd name="connsiteX49" fmla="*/ 267737 w 1478642"/>
                <a:gd name="connsiteY49" fmla="*/ 233265 h 344714"/>
                <a:gd name="connsiteX50" fmla="*/ 335772 w 1478642"/>
                <a:gd name="connsiteY50" fmla="*/ 180651 h 344714"/>
                <a:gd name="connsiteX51" fmla="*/ 352101 w 1478642"/>
                <a:gd name="connsiteY51" fmla="*/ 181558 h 344714"/>
                <a:gd name="connsiteX52" fmla="*/ 326701 w 1478642"/>
                <a:gd name="connsiteY52" fmla="*/ 140737 h 344714"/>
                <a:gd name="connsiteX53" fmla="*/ 291322 w 1478642"/>
                <a:gd name="connsiteY53" fmla="*/ 159787 h 344714"/>
                <a:gd name="connsiteX54" fmla="*/ 281344 w 1478642"/>
                <a:gd name="connsiteY54" fmla="*/ 159787 h 344714"/>
                <a:gd name="connsiteX55" fmla="*/ 351194 w 1478642"/>
                <a:gd name="connsiteY55" fmla="*/ 193351 h 344714"/>
                <a:gd name="connsiteX56" fmla="*/ 333958 w 1478642"/>
                <a:gd name="connsiteY56" fmla="*/ 191537 h 344714"/>
                <a:gd name="connsiteX57" fmla="*/ 300394 w 1478642"/>
                <a:gd name="connsiteY57" fmla="*/ 222380 h 344714"/>
                <a:gd name="connsiteX58" fmla="*/ 328515 w 1478642"/>
                <a:gd name="connsiteY58" fmla="*/ 251408 h 344714"/>
                <a:gd name="connsiteX59" fmla="*/ 352101 w 1478642"/>
                <a:gd name="connsiteY59" fmla="*/ 245058 h 344714"/>
                <a:gd name="connsiteX60" fmla="*/ 351194 w 1478642"/>
                <a:gd name="connsiteY60" fmla="*/ 193351 h 344714"/>
                <a:gd name="connsiteX61" fmla="*/ 466401 w 1478642"/>
                <a:gd name="connsiteY61" fmla="*/ 118965 h 344714"/>
                <a:gd name="connsiteX62" fmla="*/ 468215 w 1478642"/>
                <a:gd name="connsiteY62" fmla="*/ 194258 h 344714"/>
                <a:gd name="connsiteX63" fmla="*/ 468215 w 1478642"/>
                <a:gd name="connsiteY63" fmla="*/ 245965 h 344714"/>
                <a:gd name="connsiteX64" fmla="*/ 481822 w 1478642"/>
                <a:gd name="connsiteY64" fmla="*/ 262294 h 344714"/>
                <a:gd name="connsiteX65" fmla="*/ 481822 w 1478642"/>
                <a:gd name="connsiteY65" fmla="*/ 269551 h 344714"/>
                <a:gd name="connsiteX66" fmla="*/ 450072 w 1478642"/>
                <a:gd name="connsiteY66" fmla="*/ 268644 h 344714"/>
                <a:gd name="connsiteX67" fmla="*/ 421044 w 1478642"/>
                <a:gd name="connsiteY67" fmla="*/ 269551 h 344714"/>
                <a:gd name="connsiteX68" fmla="*/ 421044 w 1478642"/>
                <a:gd name="connsiteY68" fmla="*/ 262294 h 344714"/>
                <a:gd name="connsiteX69" fmla="*/ 433744 w 1478642"/>
                <a:gd name="connsiteY69" fmla="*/ 245965 h 344714"/>
                <a:gd name="connsiteX70" fmla="*/ 433744 w 1478642"/>
                <a:gd name="connsiteY70" fmla="*/ 202422 h 344714"/>
                <a:gd name="connsiteX71" fmla="*/ 429208 w 1478642"/>
                <a:gd name="connsiteY71" fmla="*/ 155251 h 344714"/>
                <a:gd name="connsiteX72" fmla="*/ 414694 w 1478642"/>
                <a:gd name="connsiteY72" fmla="*/ 144365 h 344714"/>
                <a:gd name="connsiteX73" fmla="*/ 414694 w 1478642"/>
                <a:gd name="connsiteY73" fmla="*/ 137108 h 344714"/>
                <a:gd name="connsiteX74" fmla="*/ 460051 w 1478642"/>
                <a:gd name="connsiteY74" fmla="*/ 118965 h 344714"/>
                <a:gd name="connsiteX75" fmla="*/ 466401 w 1478642"/>
                <a:gd name="connsiteY75" fmla="*/ 118965 h 344714"/>
                <a:gd name="connsiteX76" fmla="*/ 448258 w 1478642"/>
                <a:gd name="connsiteY76" fmla="*/ 59094 h 344714"/>
                <a:gd name="connsiteX77" fmla="*/ 468215 w 1478642"/>
                <a:gd name="connsiteY77" fmla="*/ 77237 h 344714"/>
                <a:gd name="connsiteX78" fmla="*/ 448258 w 1478642"/>
                <a:gd name="connsiteY78" fmla="*/ 95380 h 344714"/>
                <a:gd name="connsiteX79" fmla="*/ 428301 w 1478642"/>
                <a:gd name="connsiteY79" fmla="*/ 77237 h 344714"/>
                <a:gd name="connsiteX80" fmla="*/ 448258 w 1478642"/>
                <a:gd name="connsiteY80" fmla="*/ 59094 h 344714"/>
                <a:gd name="connsiteX81" fmla="*/ 499058 w 1478642"/>
                <a:gd name="connsiteY81" fmla="*/ 269551 h 344714"/>
                <a:gd name="connsiteX82" fmla="*/ 522644 w 1478642"/>
                <a:gd name="connsiteY82" fmla="*/ 268644 h 344714"/>
                <a:gd name="connsiteX83" fmla="*/ 550765 w 1478642"/>
                <a:gd name="connsiteY83" fmla="*/ 269551 h 344714"/>
                <a:gd name="connsiteX84" fmla="*/ 550765 w 1478642"/>
                <a:gd name="connsiteY84" fmla="*/ 262294 h 344714"/>
                <a:gd name="connsiteX85" fmla="*/ 543508 w 1478642"/>
                <a:gd name="connsiteY85" fmla="*/ 254130 h 344714"/>
                <a:gd name="connsiteX86" fmla="*/ 548044 w 1478642"/>
                <a:gd name="connsiteY86" fmla="*/ 241430 h 344714"/>
                <a:gd name="connsiteX87" fmla="*/ 567094 w 1478642"/>
                <a:gd name="connsiteY87" fmla="*/ 215122 h 344714"/>
                <a:gd name="connsiteX88" fmla="*/ 586144 w 1478642"/>
                <a:gd name="connsiteY88" fmla="*/ 242337 h 344714"/>
                <a:gd name="connsiteX89" fmla="*/ 591587 w 1478642"/>
                <a:gd name="connsiteY89" fmla="*/ 254130 h 344714"/>
                <a:gd name="connsiteX90" fmla="*/ 584330 w 1478642"/>
                <a:gd name="connsiteY90" fmla="*/ 262294 h 344714"/>
                <a:gd name="connsiteX91" fmla="*/ 584330 w 1478642"/>
                <a:gd name="connsiteY91" fmla="*/ 269551 h 344714"/>
                <a:gd name="connsiteX92" fmla="*/ 616080 w 1478642"/>
                <a:gd name="connsiteY92" fmla="*/ 268644 h 344714"/>
                <a:gd name="connsiteX93" fmla="*/ 647830 w 1478642"/>
                <a:gd name="connsiteY93" fmla="*/ 269551 h 344714"/>
                <a:gd name="connsiteX94" fmla="*/ 647830 w 1478642"/>
                <a:gd name="connsiteY94" fmla="*/ 262294 h 344714"/>
                <a:gd name="connsiteX95" fmla="*/ 625151 w 1478642"/>
                <a:gd name="connsiteY95" fmla="*/ 243244 h 344714"/>
                <a:gd name="connsiteX96" fmla="*/ 587051 w 1478642"/>
                <a:gd name="connsiteY96" fmla="*/ 189722 h 344714"/>
                <a:gd name="connsiteX97" fmla="*/ 616987 w 1478642"/>
                <a:gd name="connsiteY97" fmla="*/ 151622 h 344714"/>
                <a:gd name="connsiteX98" fmla="*/ 646015 w 1478642"/>
                <a:gd name="connsiteY98" fmla="*/ 129851 h 344714"/>
                <a:gd name="connsiteX99" fmla="*/ 646015 w 1478642"/>
                <a:gd name="connsiteY99" fmla="*/ 122594 h 344714"/>
                <a:gd name="connsiteX100" fmla="*/ 617894 w 1478642"/>
                <a:gd name="connsiteY100" fmla="*/ 123501 h 344714"/>
                <a:gd name="connsiteX101" fmla="*/ 589773 w 1478642"/>
                <a:gd name="connsiteY101" fmla="*/ 122594 h 344714"/>
                <a:gd name="connsiteX102" fmla="*/ 589773 w 1478642"/>
                <a:gd name="connsiteY102" fmla="*/ 129851 h 344714"/>
                <a:gd name="connsiteX103" fmla="*/ 599751 w 1478642"/>
                <a:gd name="connsiteY103" fmla="*/ 141644 h 344714"/>
                <a:gd name="connsiteX104" fmla="*/ 594308 w 1478642"/>
                <a:gd name="connsiteY104" fmla="*/ 153437 h 344714"/>
                <a:gd name="connsiteX105" fmla="*/ 577072 w 1478642"/>
                <a:gd name="connsiteY105" fmla="*/ 176115 h 344714"/>
                <a:gd name="connsiteX106" fmla="*/ 557115 w 1478642"/>
                <a:gd name="connsiteY106" fmla="*/ 149808 h 344714"/>
                <a:gd name="connsiteX107" fmla="*/ 552580 w 1478642"/>
                <a:gd name="connsiteY107" fmla="*/ 138015 h 344714"/>
                <a:gd name="connsiteX108" fmla="*/ 559837 w 1478642"/>
                <a:gd name="connsiteY108" fmla="*/ 129851 h 344714"/>
                <a:gd name="connsiteX109" fmla="*/ 559837 w 1478642"/>
                <a:gd name="connsiteY109" fmla="*/ 122594 h 344714"/>
                <a:gd name="connsiteX110" fmla="*/ 528087 w 1478642"/>
                <a:gd name="connsiteY110" fmla="*/ 123501 h 344714"/>
                <a:gd name="connsiteX111" fmla="*/ 495430 w 1478642"/>
                <a:gd name="connsiteY111" fmla="*/ 122594 h 344714"/>
                <a:gd name="connsiteX112" fmla="*/ 495430 w 1478642"/>
                <a:gd name="connsiteY112" fmla="*/ 129851 h 344714"/>
                <a:gd name="connsiteX113" fmla="*/ 515387 w 1478642"/>
                <a:gd name="connsiteY113" fmla="*/ 146180 h 344714"/>
                <a:gd name="connsiteX114" fmla="*/ 556208 w 1478642"/>
                <a:gd name="connsiteY114" fmla="*/ 201515 h 344714"/>
                <a:gd name="connsiteX115" fmla="*/ 521737 w 1478642"/>
                <a:gd name="connsiteY115" fmla="*/ 245965 h 344714"/>
                <a:gd name="connsiteX116" fmla="*/ 498151 w 1478642"/>
                <a:gd name="connsiteY116" fmla="*/ 262294 h 344714"/>
                <a:gd name="connsiteX117" fmla="*/ 498151 w 1478642"/>
                <a:gd name="connsiteY117" fmla="*/ 269551 h 344714"/>
                <a:gd name="connsiteX118" fmla="*/ 673230 w 1478642"/>
                <a:gd name="connsiteY118" fmla="*/ 158880 h 344714"/>
                <a:gd name="connsiteX119" fmla="*/ 673230 w 1478642"/>
                <a:gd name="connsiteY119" fmla="*/ 125315 h 344714"/>
                <a:gd name="connsiteX120" fmla="*/ 719494 w 1478642"/>
                <a:gd name="connsiteY120" fmla="*/ 118965 h 344714"/>
                <a:gd name="connsiteX121" fmla="*/ 778458 w 1478642"/>
                <a:gd name="connsiteY121" fmla="*/ 163415 h 344714"/>
                <a:gd name="connsiteX122" fmla="*/ 776644 w 1478642"/>
                <a:gd name="connsiteY122" fmla="*/ 215122 h 344714"/>
                <a:gd name="connsiteX123" fmla="*/ 776644 w 1478642"/>
                <a:gd name="connsiteY123" fmla="*/ 227822 h 344714"/>
                <a:gd name="connsiteX124" fmla="*/ 787530 w 1478642"/>
                <a:gd name="connsiteY124" fmla="*/ 248687 h 344714"/>
                <a:gd name="connsiteX125" fmla="*/ 794787 w 1478642"/>
                <a:gd name="connsiteY125" fmla="*/ 246872 h 344714"/>
                <a:gd name="connsiteX126" fmla="*/ 800230 w 1478642"/>
                <a:gd name="connsiteY126" fmla="*/ 252315 h 344714"/>
                <a:gd name="connsiteX127" fmla="*/ 773923 w 1478642"/>
                <a:gd name="connsiteY127" fmla="*/ 274087 h 344714"/>
                <a:gd name="connsiteX128" fmla="*/ 745801 w 1478642"/>
                <a:gd name="connsiteY128" fmla="*/ 256851 h 344714"/>
                <a:gd name="connsiteX129" fmla="*/ 706794 w 1478642"/>
                <a:gd name="connsiteY129" fmla="*/ 274087 h 344714"/>
                <a:gd name="connsiteX130" fmla="*/ 658715 w 1478642"/>
                <a:gd name="connsiteY130" fmla="*/ 233265 h 344714"/>
                <a:gd name="connsiteX131" fmla="*/ 726751 w 1478642"/>
                <a:gd name="connsiteY131" fmla="*/ 180651 h 344714"/>
                <a:gd name="connsiteX132" fmla="*/ 743080 w 1478642"/>
                <a:gd name="connsiteY132" fmla="*/ 181558 h 344714"/>
                <a:gd name="connsiteX133" fmla="*/ 717680 w 1478642"/>
                <a:gd name="connsiteY133" fmla="*/ 140737 h 344714"/>
                <a:gd name="connsiteX134" fmla="*/ 682301 w 1478642"/>
                <a:gd name="connsiteY134" fmla="*/ 159787 h 344714"/>
                <a:gd name="connsiteX135" fmla="*/ 673230 w 1478642"/>
                <a:gd name="connsiteY135" fmla="*/ 159787 h 344714"/>
                <a:gd name="connsiteX136" fmla="*/ 742173 w 1478642"/>
                <a:gd name="connsiteY136" fmla="*/ 193351 h 344714"/>
                <a:gd name="connsiteX137" fmla="*/ 724937 w 1478642"/>
                <a:gd name="connsiteY137" fmla="*/ 191537 h 344714"/>
                <a:gd name="connsiteX138" fmla="*/ 691372 w 1478642"/>
                <a:gd name="connsiteY138" fmla="*/ 222380 h 344714"/>
                <a:gd name="connsiteX139" fmla="*/ 719494 w 1478642"/>
                <a:gd name="connsiteY139" fmla="*/ 251408 h 344714"/>
                <a:gd name="connsiteX140" fmla="*/ 743080 w 1478642"/>
                <a:gd name="connsiteY140" fmla="*/ 245058 h 344714"/>
                <a:gd name="connsiteX141" fmla="*/ 742173 w 1478642"/>
                <a:gd name="connsiteY141" fmla="*/ 193351 h 344714"/>
                <a:gd name="connsiteX142" fmla="*/ 870987 w 1478642"/>
                <a:gd name="connsiteY142" fmla="*/ 41858 h 344714"/>
                <a:gd name="connsiteX143" fmla="*/ 885501 w 1478642"/>
                <a:gd name="connsiteY143" fmla="*/ 34601 h 344714"/>
                <a:gd name="connsiteX144" fmla="*/ 938115 w 1478642"/>
                <a:gd name="connsiteY144" fmla="*/ 86308 h 344714"/>
                <a:gd name="connsiteX145" fmla="*/ 885501 w 1478642"/>
                <a:gd name="connsiteY145" fmla="*/ 137108 h 344714"/>
                <a:gd name="connsiteX146" fmla="*/ 869173 w 1478642"/>
                <a:gd name="connsiteY146" fmla="*/ 136201 h 344714"/>
                <a:gd name="connsiteX147" fmla="*/ 870987 w 1478642"/>
                <a:gd name="connsiteY147" fmla="*/ 41858 h 344714"/>
                <a:gd name="connsiteX148" fmla="*/ 831072 w 1478642"/>
                <a:gd name="connsiteY148" fmla="*/ 239615 h 344714"/>
                <a:gd name="connsiteX149" fmla="*/ 811115 w 1478642"/>
                <a:gd name="connsiteY149" fmla="*/ 262294 h 344714"/>
                <a:gd name="connsiteX150" fmla="*/ 811115 w 1478642"/>
                <a:gd name="connsiteY150" fmla="*/ 268644 h 344714"/>
                <a:gd name="connsiteX151" fmla="*/ 871894 w 1478642"/>
                <a:gd name="connsiteY151" fmla="*/ 268644 h 344714"/>
                <a:gd name="connsiteX152" fmla="*/ 886408 w 1478642"/>
                <a:gd name="connsiteY152" fmla="*/ 269551 h 344714"/>
                <a:gd name="connsiteX153" fmla="*/ 900923 w 1478642"/>
                <a:gd name="connsiteY153" fmla="*/ 270458 h 344714"/>
                <a:gd name="connsiteX154" fmla="*/ 985287 w 1478642"/>
                <a:gd name="connsiteY154" fmla="*/ 209680 h 344714"/>
                <a:gd name="connsiteX155" fmla="*/ 929951 w 1478642"/>
                <a:gd name="connsiteY155" fmla="*/ 144365 h 344714"/>
                <a:gd name="connsiteX156" fmla="*/ 929951 w 1478642"/>
                <a:gd name="connsiteY156" fmla="*/ 143458 h 344714"/>
                <a:gd name="connsiteX157" fmla="*/ 981658 w 1478642"/>
                <a:gd name="connsiteY157" fmla="*/ 85401 h 344714"/>
                <a:gd name="connsiteX158" fmla="*/ 894572 w 1478642"/>
                <a:gd name="connsiteY158" fmla="*/ 21901 h 344714"/>
                <a:gd name="connsiteX159" fmla="*/ 861915 w 1478642"/>
                <a:gd name="connsiteY159" fmla="*/ 23715 h 344714"/>
                <a:gd name="connsiteX160" fmla="*/ 815651 w 1478642"/>
                <a:gd name="connsiteY160" fmla="*/ 21901 h 344714"/>
                <a:gd name="connsiteX161" fmla="*/ 815651 w 1478642"/>
                <a:gd name="connsiteY161" fmla="*/ 30065 h 344714"/>
                <a:gd name="connsiteX162" fmla="*/ 831072 w 1478642"/>
                <a:gd name="connsiteY162" fmla="*/ 48208 h 344714"/>
                <a:gd name="connsiteX163" fmla="*/ 831980 w 1478642"/>
                <a:gd name="connsiteY163" fmla="*/ 167951 h 344714"/>
                <a:gd name="connsiteX164" fmla="*/ 831980 w 1478642"/>
                <a:gd name="connsiteY164" fmla="*/ 239615 h 344714"/>
                <a:gd name="connsiteX165" fmla="*/ 869173 w 1478642"/>
                <a:gd name="connsiteY165" fmla="*/ 151622 h 344714"/>
                <a:gd name="connsiteX166" fmla="*/ 888222 w 1478642"/>
                <a:gd name="connsiteY166" fmla="*/ 151622 h 344714"/>
                <a:gd name="connsiteX167" fmla="*/ 941744 w 1478642"/>
                <a:gd name="connsiteY167" fmla="*/ 207865 h 344714"/>
                <a:gd name="connsiteX168" fmla="*/ 893665 w 1478642"/>
                <a:gd name="connsiteY168" fmla="*/ 256851 h 344714"/>
                <a:gd name="connsiteX169" fmla="*/ 869173 w 1478642"/>
                <a:gd name="connsiteY169" fmla="*/ 234172 h 344714"/>
                <a:gd name="connsiteX170" fmla="*/ 869173 w 1478642"/>
                <a:gd name="connsiteY170" fmla="*/ 151622 h 344714"/>
                <a:gd name="connsiteX171" fmla="*/ 1152201 w 1478642"/>
                <a:gd name="connsiteY171" fmla="*/ 143458 h 344714"/>
                <a:gd name="connsiteX172" fmla="*/ 1167623 w 1478642"/>
                <a:gd name="connsiteY172" fmla="*/ 159787 h 344714"/>
                <a:gd name="connsiteX173" fmla="*/ 1169437 w 1478642"/>
                <a:gd name="connsiteY173" fmla="*/ 210587 h 344714"/>
                <a:gd name="connsiteX174" fmla="*/ 1169437 w 1478642"/>
                <a:gd name="connsiteY174" fmla="*/ 245058 h 344714"/>
                <a:gd name="connsiteX175" fmla="*/ 1156737 w 1478642"/>
                <a:gd name="connsiteY175" fmla="*/ 261387 h 344714"/>
                <a:gd name="connsiteX176" fmla="*/ 1156737 w 1478642"/>
                <a:gd name="connsiteY176" fmla="*/ 268644 h 344714"/>
                <a:gd name="connsiteX177" fmla="*/ 1186673 w 1478642"/>
                <a:gd name="connsiteY177" fmla="*/ 267737 h 344714"/>
                <a:gd name="connsiteX178" fmla="*/ 1217515 w 1478642"/>
                <a:gd name="connsiteY178" fmla="*/ 268644 h 344714"/>
                <a:gd name="connsiteX179" fmla="*/ 1217515 w 1478642"/>
                <a:gd name="connsiteY179" fmla="*/ 261387 h 344714"/>
                <a:gd name="connsiteX180" fmla="*/ 1204815 w 1478642"/>
                <a:gd name="connsiteY180" fmla="*/ 245058 h 344714"/>
                <a:gd name="connsiteX181" fmla="*/ 1204815 w 1478642"/>
                <a:gd name="connsiteY181" fmla="*/ 216030 h 344714"/>
                <a:gd name="connsiteX182" fmla="*/ 1205722 w 1478642"/>
                <a:gd name="connsiteY182" fmla="*/ 155251 h 344714"/>
                <a:gd name="connsiteX183" fmla="*/ 1235658 w 1478642"/>
                <a:gd name="connsiteY183" fmla="*/ 138922 h 344714"/>
                <a:gd name="connsiteX184" fmla="*/ 1264687 w 1478642"/>
                <a:gd name="connsiteY184" fmla="*/ 184280 h 344714"/>
                <a:gd name="connsiteX185" fmla="*/ 1264687 w 1478642"/>
                <a:gd name="connsiteY185" fmla="*/ 245965 h 344714"/>
                <a:gd name="connsiteX186" fmla="*/ 1251987 w 1478642"/>
                <a:gd name="connsiteY186" fmla="*/ 262294 h 344714"/>
                <a:gd name="connsiteX187" fmla="*/ 1251987 w 1478642"/>
                <a:gd name="connsiteY187" fmla="*/ 269551 h 344714"/>
                <a:gd name="connsiteX188" fmla="*/ 1285551 w 1478642"/>
                <a:gd name="connsiteY188" fmla="*/ 268644 h 344714"/>
                <a:gd name="connsiteX189" fmla="*/ 1311858 w 1478642"/>
                <a:gd name="connsiteY189" fmla="*/ 269551 h 344714"/>
                <a:gd name="connsiteX190" fmla="*/ 1311858 w 1478642"/>
                <a:gd name="connsiteY190" fmla="*/ 262294 h 344714"/>
                <a:gd name="connsiteX191" fmla="*/ 1299158 w 1478642"/>
                <a:gd name="connsiteY191" fmla="*/ 245965 h 344714"/>
                <a:gd name="connsiteX192" fmla="*/ 1299158 w 1478642"/>
                <a:gd name="connsiteY192" fmla="*/ 170672 h 344714"/>
                <a:gd name="connsiteX193" fmla="*/ 1250173 w 1478642"/>
                <a:gd name="connsiteY193" fmla="*/ 119872 h 344714"/>
                <a:gd name="connsiteX194" fmla="*/ 1206630 w 1478642"/>
                <a:gd name="connsiteY194" fmla="*/ 137108 h 344714"/>
                <a:gd name="connsiteX195" fmla="*/ 1207537 w 1478642"/>
                <a:gd name="connsiteY195" fmla="*/ 118965 h 344714"/>
                <a:gd name="connsiteX196" fmla="*/ 1199373 w 1478642"/>
                <a:gd name="connsiteY196" fmla="*/ 118965 h 344714"/>
                <a:gd name="connsiteX197" fmla="*/ 1152201 w 1478642"/>
                <a:gd name="connsiteY197" fmla="*/ 137108 h 344714"/>
                <a:gd name="connsiteX198" fmla="*/ 1152201 w 1478642"/>
                <a:gd name="connsiteY198" fmla="*/ 143458 h 344714"/>
                <a:gd name="connsiteX199" fmla="*/ 1477865 w 1478642"/>
                <a:gd name="connsiteY199" fmla="*/ 262294 h 344714"/>
                <a:gd name="connsiteX200" fmla="*/ 1449744 w 1478642"/>
                <a:gd name="connsiteY200" fmla="*/ 242337 h 344714"/>
                <a:gd name="connsiteX201" fmla="*/ 1396222 w 1478642"/>
                <a:gd name="connsiteY201" fmla="*/ 179744 h 344714"/>
                <a:gd name="connsiteX202" fmla="*/ 1423437 w 1478642"/>
                <a:gd name="connsiteY202" fmla="*/ 150715 h 344714"/>
                <a:gd name="connsiteX203" fmla="*/ 1456094 w 1478642"/>
                <a:gd name="connsiteY203" fmla="*/ 129851 h 344714"/>
                <a:gd name="connsiteX204" fmla="*/ 1456094 w 1478642"/>
                <a:gd name="connsiteY204" fmla="*/ 122594 h 344714"/>
                <a:gd name="connsiteX205" fmla="*/ 1429787 w 1478642"/>
                <a:gd name="connsiteY205" fmla="*/ 123501 h 344714"/>
                <a:gd name="connsiteX206" fmla="*/ 1400758 w 1478642"/>
                <a:gd name="connsiteY206" fmla="*/ 122594 h 344714"/>
                <a:gd name="connsiteX207" fmla="*/ 1400758 w 1478642"/>
                <a:gd name="connsiteY207" fmla="*/ 129851 h 344714"/>
                <a:gd name="connsiteX208" fmla="*/ 1407108 w 1478642"/>
                <a:gd name="connsiteY208" fmla="*/ 138922 h 344714"/>
                <a:gd name="connsiteX209" fmla="*/ 1398037 w 1478642"/>
                <a:gd name="connsiteY209" fmla="*/ 155251 h 344714"/>
                <a:gd name="connsiteX210" fmla="*/ 1369008 w 1478642"/>
                <a:gd name="connsiteY210" fmla="*/ 184280 h 344714"/>
                <a:gd name="connsiteX211" fmla="*/ 1369008 w 1478642"/>
                <a:gd name="connsiteY211" fmla="*/ 17365 h 344714"/>
                <a:gd name="connsiteX212" fmla="*/ 1360844 w 1478642"/>
                <a:gd name="connsiteY212" fmla="*/ 17365 h 344714"/>
                <a:gd name="connsiteX213" fmla="*/ 1313673 w 1478642"/>
                <a:gd name="connsiteY213" fmla="*/ 39137 h 344714"/>
                <a:gd name="connsiteX214" fmla="*/ 1313673 w 1478642"/>
                <a:gd name="connsiteY214" fmla="*/ 47301 h 344714"/>
                <a:gd name="connsiteX215" fmla="*/ 1331815 w 1478642"/>
                <a:gd name="connsiteY215" fmla="*/ 69980 h 344714"/>
                <a:gd name="connsiteX216" fmla="*/ 1334537 w 1478642"/>
                <a:gd name="connsiteY216" fmla="*/ 130758 h 344714"/>
                <a:gd name="connsiteX217" fmla="*/ 1334537 w 1478642"/>
                <a:gd name="connsiteY217" fmla="*/ 245965 h 344714"/>
                <a:gd name="connsiteX218" fmla="*/ 1320930 w 1478642"/>
                <a:gd name="connsiteY218" fmla="*/ 262294 h 344714"/>
                <a:gd name="connsiteX219" fmla="*/ 1320930 w 1478642"/>
                <a:gd name="connsiteY219" fmla="*/ 269551 h 344714"/>
                <a:gd name="connsiteX220" fmla="*/ 1349051 w 1478642"/>
                <a:gd name="connsiteY220" fmla="*/ 268644 h 344714"/>
                <a:gd name="connsiteX221" fmla="*/ 1380801 w 1478642"/>
                <a:gd name="connsiteY221" fmla="*/ 269551 h 344714"/>
                <a:gd name="connsiteX222" fmla="*/ 1380801 w 1478642"/>
                <a:gd name="connsiteY222" fmla="*/ 262294 h 344714"/>
                <a:gd name="connsiteX223" fmla="*/ 1369008 w 1478642"/>
                <a:gd name="connsiteY223" fmla="*/ 245965 h 344714"/>
                <a:gd name="connsiteX224" fmla="*/ 1369008 w 1478642"/>
                <a:gd name="connsiteY224" fmla="*/ 196980 h 344714"/>
                <a:gd name="connsiteX225" fmla="*/ 1369915 w 1478642"/>
                <a:gd name="connsiteY225" fmla="*/ 196980 h 344714"/>
                <a:gd name="connsiteX226" fmla="*/ 1406201 w 1478642"/>
                <a:gd name="connsiteY226" fmla="*/ 236894 h 344714"/>
                <a:gd name="connsiteX227" fmla="*/ 1416180 w 1478642"/>
                <a:gd name="connsiteY227" fmla="*/ 255944 h 344714"/>
                <a:gd name="connsiteX228" fmla="*/ 1410737 w 1478642"/>
                <a:gd name="connsiteY228" fmla="*/ 262294 h 344714"/>
                <a:gd name="connsiteX229" fmla="*/ 1410737 w 1478642"/>
                <a:gd name="connsiteY229" fmla="*/ 269551 h 344714"/>
                <a:gd name="connsiteX230" fmla="*/ 1447023 w 1478642"/>
                <a:gd name="connsiteY230" fmla="*/ 268644 h 344714"/>
                <a:gd name="connsiteX231" fmla="*/ 1477865 w 1478642"/>
                <a:gd name="connsiteY231" fmla="*/ 269551 h 344714"/>
                <a:gd name="connsiteX232" fmla="*/ 1477865 w 1478642"/>
                <a:gd name="connsiteY232" fmla="*/ 262294 h 344714"/>
                <a:gd name="connsiteX233" fmla="*/ 12830 w 1478642"/>
                <a:gd name="connsiteY233" fmla="*/ 332144 h 344714"/>
                <a:gd name="connsiteX234" fmla="*/ 12830 w 1478642"/>
                <a:gd name="connsiteY234" fmla="*/ 337587 h 344714"/>
                <a:gd name="connsiteX235" fmla="*/ 12830 w 1478642"/>
                <a:gd name="connsiteY235" fmla="*/ 337587 h 344714"/>
                <a:gd name="connsiteX236" fmla="*/ 12830 w 1478642"/>
                <a:gd name="connsiteY236" fmla="*/ 343029 h 344714"/>
                <a:gd name="connsiteX237" fmla="*/ 1478773 w 1478642"/>
                <a:gd name="connsiteY237" fmla="*/ 343029 h 344714"/>
                <a:gd name="connsiteX238" fmla="*/ 1478773 w 1478642"/>
                <a:gd name="connsiteY238" fmla="*/ 337587 h 344714"/>
                <a:gd name="connsiteX239" fmla="*/ 1478773 w 1478642"/>
                <a:gd name="connsiteY239" fmla="*/ 337587 h 344714"/>
                <a:gd name="connsiteX240" fmla="*/ 1478773 w 1478642"/>
                <a:gd name="connsiteY240" fmla="*/ 332144 h 344714"/>
                <a:gd name="connsiteX241" fmla="*/ 12830 w 1478642"/>
                <a:gd name="connsiteY241" fmla="*/ 332144 h 344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</a:cxnLst>
              <a:rect l="l" t="t" r="r" b="b"/>
              <a:pathLst>
                <a:path w="1478642" h="344714">
                  <a:moveTo>
                    <a:pt x="1090515" y="245965"/>
                  </a:moveTo>
                  <a:cubicBezTo>
                    <a:pt x="1085072" y="249594"/>
                    <a:pt x="1077815" y="252315"/>
                    <a:pt x="1066930" y="252315"/>
                  </a:cubicBezTo>
                  <a:cubicBezTo>
                    <a:pt x="1052415" y="252315"/>
                    <a:pt x="1039715" y="239615"/>
                    <a:pt x="1039715" y="223287"/>
                  </a:cubicBezTo>
                  <a:cubicBezTo>
                    <a:pt x="1039715" y="200608"/>
                    <a:pt x="1056951" y="192444"/>
                    <a:pt x="1073280" y="192444"/>
                  </a:cubicBezTo>
                  <a:cubicBezTo>
                    <a:pt x="1079630" y="192444"/>
                    <a:pt x="1085980" y="193351"/>
                    <a:pt x="1090515" y="194258"/>
                  </a:cubicBezTo>
                  <a:lnTo>
                    <a:pt x="1090515" y="245965"/>
                  </a:lnTo>
                  <a:close/>
                  <a:moveTo>
                    <a:pt x="1028830" y="158880"/>
                  </a:moveTo>
                  <a:cubicBezTo>
                    <a:pt x="1037901" y="146180"/>
                    <a:pt x="1046972" y="139830"/>
                    <a:pt x="1064208" y="139830"/>
                  </a:cubicBezTo>
                  <a:cubicBezTo>
                    <a:pt x="1088701" y="139830"/>
                    <a:pt x="1089608" y="160694"/>
                    <a:pt x="1089608" y="180651"/>
                  </a:cubicBezTo>
                  <a:cubicBezTo>
                    <a:pt x="1085072" y="180651"/>
                    <a:pt x="1078722" y="179744"/>
                    <a:pt x="1073280" y="179744"/>
                  </a:cubicBezTo>
                  <a:cubicBezTo>
                    <a:pt x="1040622" y="179744"/>
                    <a:pt x="1005244" y="194258"/>
                    <a:pt x="1005244" y="231451"/>
                  </a:cubicBezTo>
                  <a:cubicBezTo>
                    <a:pt x="1005244" y="257758"/>
                    <a:pt x="1028830" y="272272"/>
                    <a:pt x="1053322" y="272272"/>
                  </a:cubicBezTo>
                  <a:cubicBezTo>
                    <a:pt x="1068744" y="272272"/>
                    <a:pt x="1080537" y="264108"/>
                    <a:pt x="1092330" y="255037"/>
                  </a:cubicBezTo>
                  <a:cubicBezTo>
                    <a:pt x="1096865" y="264108"/>
                    <a:pt x="1106844" y="270458"/>
                    <a:pt x="1120451" y="272272"/>
                  </a:cubicBezTo>
                  <a:lnTo>
                    <a:pt x="1146758" y="251408"/>
                  </a:lnTo>
                  <a:lnTo>
                    <a:pt x="1141315" y="245965"/>
                  </a:lnTo>
                  <a:cubicBezTo>
                    <a:pt x="1138594" y="246872"/>
                    <a:pt x="1135873" y="247780"/>
                    <a:pt x="1134058" y="247780"/>
                  </a:cubicBezTo>
                  <a:cubicBezTo>
                    <a:pt x="1125894" y="247780"/>
                    <a:pt x="1123173" y="243244"/>
                    <a:pt x="1123173" y="226915"/>
                  </a:cubicBezTo>
                  <a:lnTo>
                    <a:pt x="1123173" y="214215"/>
                  </a:lnTo>
                  <a:cubicBezTo>
                    <a:pt x="1123173" y="194258"/>
                    <a:pt x="1124987" y="175208"/>
                    <a:pt x="1124987" y="162508"/>
                  </a:cubicBezTo>
                  <a:cubicBezTo>
                    <a:pt x="1124987" y="127130"/>
                    <a:pt x="1097773" y="118965"/>
                    <a:pt x="1066930" y="118965"/>
                  </a:cubicBezTo>
                  <a:cubicBezTo>
                    <a:pt x="1050601" y="118965"/>
                    <a:pt x="1036087" y="120780"/>
                    <a:pt x="1021572" y="125315"/>
                  </a:cubicBezTo>
                  <a:lnTo>
                    <a:pt x="1021572" y="158880"/>
                  </a:lnTo>
                  <a:lnTo>
                    <a:pt x="1028830" y="158880"/>
                  </a:lnTo>
                  <a:close/>
                  <a:moveTo>
                    <a:pt x="237801" y="20994"/>
                  </a:moveTo>
                  <a:cubicBezTo>
                    <a:pt x="211494" y="14644"/>
                    <a:pt x="193351" y="6480"/>
                    <a:pt x="146180" y="6480"/>
                  </a:cubicBezTo>
                  <a:cubicBezTo>
                    <a:pt x="64537" y="6480"/>
                    <a:pt x="6480" y="61815"/>
                    <a:pt x="6480" y="137108"/>
                  </a:cubicBezTo>
                  <a:cubicBezTo>
                    <a:pt x="6480" y="202422"/>
                    <a:pt x="53651" y="269551"/>
                    <a:pt x="162508" y="269551"/>
                  </a:cubicBezTo>
                  <a:cubicBezTo>
                    <a:pt x="186094" y="269551"/>
                    <a:pt x="204237" y="266830"/>
                    <a:pt x="233265" y="261387"/>
                  </a:cubicBezTo>
                  <a:lnTo>
                    <a:pt x="244151" y="221472"/>
                  </a:lnTo>
                  <a:lnTo>
                    <a:pt x="233265" y="216937"/>
                  </a:lnTo>
                  <a:cubicBezTo>
                    <a:pt x="216937" y="242337"/>
                    <a:pt x="190630" y="255037"/>
                    <a:pt x="161601" y="255037"/>
                  </a:cubicBezTo>
                  <a:cubicBezTo>
                    <a:pt x="131665" y="255037"/>
                    <a:pt x="57280" y="237801"/>
                    <a:pt x="57280" y="135294"/>
                  </a:cubicBezTo>
                  <a:cubicBezTo>
                    <a:pt x="57280" y="74515"/>
                    <a:pt x="83587" y="23715"/>
                    <a:pt x="147087" y="23715"/>
                  </a:cubicBezTo>
                  <a:cubicBezTo>
                    <a:pt x="177930" y="23715"/>
                    <a:pt x="214215" y="37322"/>
                    <a:pt x="225101" y="71794"/>
                  </a:cubicBezTo>
                  <a:lnTo>
                    <a:pt x="240522" y="71794"/>
                  </a:lnTo>
                  <a:lnTo>
                    <a:pt x="237801" y="20994"/>
                  </a:lnTo>
                  <a:close/>
                  <a:moveTo>
                    <a:pt x="281344" y="158880"/>
                  </a:moveTo>
                  <a:lnTo>
                    <a:pt x="281344" y="125315"/>
                  </a:lnTo>
                  <a:cubicBezTo>
                    <a:pt x="295858" y="120780"/>
                    <a:pt x="310372" y="118965"/>
                    <a:pt x="327608" y="118965"/>
                  </a:cubicBezTo>
                  <a:cubicBezTo>
                    <a:pt x="359358" y="118965"/>
                    <a:pt x="386572" y="127130"/>
                    <a:pt x="386572" y="163415"/>
                  </a:cubicBezTo>
                  <a:cubicBezTo>
                    <a:pt x="386572" y="176115"/>
                    <a:pt x="385665" y="194258"/>
                    <a:pt x="385665" y="215122"/>
                  </a:cubicBezTo>
                  <a:lnTo>
                    <a:pt x="385665" y="227822"/>
                  </a:lnTo>
                  <a:cubicBezTo>
                    <a:pt x="385665" y="244151"/>
                    <a:pt x="388387" y="248687"/>
                    <a:pt x="396551" y="248687"/>
                  </a:cubicBezTo>
                  <a:cubicBezTo>
                    <a:pt x="398365" y="248687"/>
                    <a:pt x="401087" y="247780"/>
                    <a:pt x="403808" y="246872"/>
                  </a:cubicBezTo>
                  <a:lnTo>
                    <a:pt x="409251" y="252315"/>
                  </a:lnTo>
                  <a:lnTo>
                    <a:pt x="382944" y="274087"/>
                  </a:lnTo>
                  <a:cubicBezTo>
                    <a:pt x="369337" y="272272"/>
                    <a:pt x="358451" y="265922"/>
                    <a:pt x="354822" y="256851"/>
                  </a:cubicBezTo>
                  <a:cubicBezTo>
                    <a:pt x="343030" y="265922"/>
                    <a:pt x="331237" y="274087"/>
                    <a:pt x="315815" y="274087"/>
                  </a:cubicBezTo>
                  <a:cubicBezTo>
                    <a:pt x="291322" y="274087"/>
                    <a:pt x="267737" y="259572"/>
                    <a:pt x="267737" y="233265"/>
                  </a:cubicBezTo>
                  <a:cubicBezTo>
                    <a:pt x="267737" y="195165"/>
                    <a:pt x="304022" y="180651"/>
                    <a:pt x="335772" y="180651"/>
                  </a:cubicBezTo>
                  <a:cubicBezTo>
                    <a:pt x="341215" y="180651"/>
                    <a:pt x="347565" y="181558"/>
                    <a:pt x="352101" y="181558"/>
                  </a:cubicBezTo>
                  <a:cubicBezTo>
                    <a:pt x="352101" y="162508"/>
                    <a:pt x="350287" y="140737"/>
                    <a:pt x="326701" y="140737"/>
                  </a:cubicBezTo>
                  <a:cubicBezTo>
                    <a:pt x="309465" y="140737"/>
                    <a:pt x="300394" y="146180"/>
                    <a:pt x="291322" y="159787"/>
                  </a:cubicBezTo>
                  <a:lnTo>
                    <a:pt x="281344" y="159787"/>
                  </a:lnTo>
                  <a:close/>
                  <a:moveTo>
                    <a:pt x="351194" y="193351"/>
                  </a:moveTo>
                  <a:cubicBezTo>
                    <a:pt x="347565" y="192444"/>
                    <a:pt x="340308" y="191537"/>
                    <a:pt x="333958" y="191537"/>
                  </a:cubicBezTo>
                  <a:cubicBezTo>
                    <a:pt x="317630" y="191537"/>
                    <a:pt x="300394" y="199701"/>
                    <a:pt x="300394" y="222380"/>
                  </a:cubicBezTo>
                  <a:cubicBezTo>
                    <a:pt x="300394" y="238708"/>
                    <a:pt x="313094" y="251408"/>
                    <a:pt x="328515" y="251408"/>
                  </a:cubicBezTo>
                  <a:cubicBezTo>
                    <a:pt x="339401" y="251408"/>
                    <a:pt x="346658" y="248687"/>
                    <a:pt x="352101" y="245058"/>
                  </a:cubicBezTo>
                  <a:lnTo>
                    <a:pt x="351194" y="193351"/>
                  </a:lnTo>
                  <a:close/>
                  <a:moveTo>
                    <a:pt x="466401" y="118965"/>
                  </a:moveTo>
                  <a:cubicBezTo>
                    <a:pt x="466401" y="133480"/>
                    <a:pt x="468215" y="165230"/>
                    <a:pt x="468215" y="194258"/>
                  </a:cubicBezTo>
                  <a:lnTo>
                    <a:pt x="468215" y="245965"/>
                  </a:lnTo>
                  <a:cubicBezTo>
                    <a:pt x="468215" y="257758"/>
                    <a:pt x="473658" y="259572"/>
                    <a:pt x="481822" y="262294"/>
                  </a:cubicBezTo>
                  <a:lnTo>
                    <a:pt x="481822" y="269551"/>
                  </a:lnTo>
                  <a:cubicBezTo>
                    <a:pt x="470937" y="269551"/>
                    <a:pt x="460958" y="268644"/>
                    <a:pt x="450072" y="268644"/>
                  </a:cubicBezTo>
                  <a:cubicBezTo>
                    <a:pt x="440094" y="268644"/>
                    <a:pt x="431022" y="269551"/>
                    <a:pt x="421044" y="269551"/>
                  </a:cubicBezTo>
                  <a:lnTo>
                    <a:pt x="421044" y="262294"/>
                  </a:lnTo>
                  <a:cubicBezTo>
                    <a:pt x="429208" y="260480"/>
                    <a:pt x="433744" y="258665"/>
                    <a:pt x="433744" y="245965"/>
                  </a:cubicBezTo>
                  <a:lnTo>
                    <a:pt x="433744" y="202422"/>
                  </a:lnTo>
                  <a:cubicBezTo>
                    <a:pt x="433744" y="177022"/>
                    <a:pt x="431930" y="162508"/>
                    <a:pt x="429208" y="155251"/>
                  </a:cubicBezTo>
                  <a:cubicBezTo>
                    <a:pt x="426487" y="147994"/>
                    <a:pt x="422858" y="145272"/>
                    <a:pt x="414694" y="144365"/>
                  </a:cubicBezTo>
                  <a:lnTo>
                    <a:pt x="414694" y="137108"/>
                  </a:lnTo>
                  <a:cubicBezTo>
                    <a:pt x="431022" y="133480"/>
                    <a:pt x="450072" y="126222"/>
                    <a:pt x="460051" y="118965"/>
                  </a:cubicBezTo>
                  <a:lnTo>
                    <a:pt x="466401" y="118965"/>
                  </a:lnTo>
                  <a:close/>
                  <a:moveTo>
                    <a:pt x="448258" y="59094"/>
                  </a:moveTo>
                  <a:cubicBezTo>
                    <a:pt x="458237" y="59094"/>
                    <a:pt x="468215" y="66351"/>
                    <a:pt x="468215" y="77237"/>
                  </a:cubicBezTo>
                  <a:cubicBezTo>
                    <a:pt x="468215" y="88122"/>
                    <a:pt x="459144" y="95380"/>
                    <a:pt x="448258" y="95380"/>
                  </a:cubicBezTo>
                  <a:cubicBezTo>
                    <a:pt x="438280" y="95380"/>
                    <a:pt x="428301" y="88122"/>
                    <a:pt x="428301" y="77237"/>
                  </a:cubicBezTo>
                  <a:cubicBezTo>
                    <a:pt x="429208" y="66351"/>
                    <a:pt x="438280" y="59094"/>
                    <a:pt x="448258" y="59094"/>
                  </a:cubicBezTo>
                  <a:moveTo>
                    <a:pt x="499058" y="269551"/>
                  </a:moveTo>
                  <a:cubicBezTo>
                    <a:pt x="507222" y="269551"/>
                    <a:pt x="514480" y="268644"/>
                    <a:pt x="522644" y="268644"/>
                  </a:cubicBezTo>
                  <a:cubicBezTo>
                    <a:pt x="531715" y="268644"/>
                    <a:pt x="541694" y="269551"/>
                    <a:pt x="550765" y="269551"/>
                  </a:cubicBezTo>
                  <a:lnTo>
                    <a:pt x="550765" y="262294"/>
                  </a:lnTo>
                  <a:cubicBezTo>
                    <a:pt x="546230" y="261387"/>
                    <a:pt x="543508" y="259572"/>
                    <a:pt x="543508" y="254130"/>
                  </a:cubicBezTo>
                  <a:cubicBezTo>
                    <a:pt x="543508" y="251408"/>
                    <a:pt x="546230" y="244151"/>
                    <a:pt x="548044" y="241430"/>
                  </a:cubicBezTo>
                  <a:lnTo>
                    <a:pt x="567094" y="215122"/>
                  </a:lnTo>
                  <a:lnTo>
                    <a:pt x="586144" y="242337"/>
                  </a:lnTo>
                  <a:cubicBezTo>
                    <a:pt x="588865" y="246872"/>
                    <a:pt x="591587" y="252315"/>
                    <a:pt x="591587" y="254130"/>
                  </a:cubicBezTo>
                  <a:cubicBezTo>
                    <a:pt x="591587" y="257758"/>
                    <a:pt x="587958" y="261387"/>
                    <a:pt x="584330" y="262294"/>
                  </a:cubicBezTo>
                  <a:lnTo>
                    <a:pt x="584330" y="269551"/>
                  </a:lnTo>
                  <a:cubicBezTo>
                    <a:pt x="595215" y="269551"/>
                    <a:pt x="605194" y="268644"/>
                    <a:pt x="616080" y="268644"/>
                  </a:cubicBezTo>
                  <a:cubicBezTo>
                    <a:pt x="626965" y="268644"/>
                    <a:pt x="636944" y="269551"/>
                    <a:pt x="647830" y="269551"/>
                  </a:cubicBezTo>
                  <a:lnTo>
                    <a:pt x="647830" y="262294"/>
                  </a:lnTo>
                  <a:cubicBezTo>
                    <a:pt x="638758" y="259572"/>
                    <a:pt x="630594" y="250501"/>
                    <a:pt x="625151" y="243244"/>
                  </a:cubicBezTo>
                  <a:lnTo>
                    <a:pt x="587051" y="189722"/>
                  </a:lnTo>
                  <a:lnTo>
                    <a:pt x="616987" y="151622"/>
                  </a:lnTo>
                  <a:cubicBezTo>
                    <a:pt x="625151" y="141644"/>
                    <a:pt x="632408" y="133480"/>
                    <a:pt x="646015" y="129851"/>
                  </a:cubicBezTo>
                  <a:lnTo>
                    <a:pt x="646015" y="122594"/>
                  </a:lnTo>
                  <a:cubicBezTo>
                    <a:pt x="636944" y="122594"/>
                    <a:pt x="626965" y="123501"/>
                    <a:pt x="617894" y="123501"/>
                  </a:cubicBezTo>
                  <a:cubicBezTo>
                    <a:pt x="607915" y="123501"/>
                    <a:pt x="598844" y="122594"/>
                    <a:pt x="589773" y="122594"/>
                  </a:cubicBezTo>
                  <a:lnTo>
                    <a:pt x="589773" y="129851"/>
                  </a:lnTo>
                  <a:cubicBezTo>
                    <a:pt x="595215" y="131665"/>
                    <a:pt x="599751" y="134387"/>
                    <a:pt x="599751" y="141644"/>
                  </a:cubicBezTo>
                  <a:cubicBezTo>
                    <a:pt x="599751" y="144365"/>
                    <a:pt x="597937" y="147994"/>
                    <a:pt x="594308" y="153437"/>
                  </a:cubicBezTo>
                  <a:lnTo>
                    <a:pt x="577072" y="176115"/>
                  </a:lnTo>
                  <a:lnTo>
                    <a:pt x="557115" y="149808"/>
                  </a:lnTo>
                  <a:cubicBezTo>
                    <a:pt x="553487" y="145272"/>
                    <a:pt x="552580" y="140737"/>
                    <a:pt x="552580" y="138015"/>
                  </a:cubicBezTo>
                  <a:cubicBezTo>
                    <a:pt x="552580" y="132572"/>
                    <a:pt x="555301" y="131665"/>
                    <a:pt x="559837" y="129851"/>
                  </a:cubicBezTo>
                  <a:lnTo>
                    <a:pt x="559837" y="122594"/>
                  </a:lnTo>
                  <a:cubicBezTo>
                    <a:pt x="548951" y="122594"/>
                    <a:pt x="538972" y="123501"/>
                    <a:pt x="528087" y="123501"/>
                  </a:cubicBezTo>
                  <a:cubicBezTo>
                    <a:pt x="517201" y="123501"/>
                    <a:pt x="506315" y="122594"/>
                    <a:pt x="495430" y="122594"/>
                  </a:cubicBezTo>
                  <a:lnTo>
                    <a:pt x="495430" y="129851"/>
                  </a:lnTo>
                  <a:cubicBezTo>
                    <a:pt x="505408" y="134387"/>
                    <a:pt x="508130" y="137108"/>
                    <a:pt x="515387" y="146180"/>
                  </a:cubicBezTo>
                  <a:lnTo>
                    <a:pt x="556208" y="201515"/>
                  </a:lnTo>
                  <a:lnTo>
                    <a:pt x="521737" y="245965"/>
                  </a:lnTo>
                  <a:cubicBezTo>
                    <a:pt x="517201" y="252315"/>
                    <a:pt x="509944" y="260480"/>
                    <a:pt x="498151" y="262294"/>
                  </a:cubicBezTo>
                  <a:lnTo>
                    <a:pt x="498151" y="269551"/>
                  </a:lnTo>
                  <a:close/>
                  <a:moveTo>
                    <a:pt x="673230" y="158880"/>
                  </a:moveTo>
                  <a:lnTo>
                    <a:pt x="673230" y="125315"/>
                  </a:lnTo>
                  <a:cubicBezTo>
                    <a:pt x="687744" y="120780"/>
                    <a:pt x="702258" y="118965"/>
                    <a:pt x="719494" y="118965"/>
                  </a:cubicBezTo>
                  <a:cubicBezTo>
                    <a:pt x="751244" y="118965"/>
                    <a:pt x="778458" y="127130"/>
                    <a:pt x="778458" y="163415"/>
                  </a:cubicBezTo>
                  <a:cubicBezTo>
                    <a:pt x="778458" y="176115"/>
                    <a:pt x="777551" y="194258"/>
                    <a:pt x="776644" y="215122"/>
                  </a:cubicBezTo>
                  <a:lnTo>
                    <a:pt x="776644" y="227822"/>
                  </a:lnTo>
                  <a:cubicBezTo>
                    <a:pt x="776644" y="244151"/>
                    <a:pt x="779365" y="248687"/>
                    <a:pt x="787530" y="248687"/>
                  </a:cubicBezTo>
                  <a:cubicBezTo>
                    <a:pt x="789344" y="248687"/>
                    <a:pt x="792065" y="247780"/>
                    <a:pt x="794787" y="246872"/>
                  </a:cubicBezTo>
                  <a:lnTo>
                    <a:pt x="800230" y="252315"/>
                  </a:lnTo>
                  <a:lnTo>
                    <a:pt x="773923" y="274087"/>
                  </a:lnTo>
                  <a:cubicBezTo>
                    <a:pt x="760315" y="272272"/>
                    <a:pt x="749430" y="265922"/>
                    <a:pt x="745801" y="256851"/>
                  </a:cubicBezTo>
                  <a:cubicBezTo>
                    <a:pt x="734008" y="265922"/>
                    <a:pt x="722215" y="274087"/>
                    <a:pt x="706794" y="274087"/>
                  </a:cubicBezTo>
                  <a:cubicBezTo>
                    <a:pt x="682301" y="274087"/>
                    <a:pt x="658715" y="259572"/>
                    <a:pt x="658715" y="233265"/>
                  </a:cubicBezTo>
                  <a:cubicBezTo>
                    <a:pt x="658715" y="195165"/>
                    <a:pt x="695001" y="180651"/>
                    <a:pt x="726751" y="180651"/>
                  </a:cubicBezTo>
                  <a:cubicBezTo>
                    <a:pt x="732194" y="180651"/>
                    <a:pt x="738544" y="181558"/>
                    <a:pt x="743080" y="181558"/>
                  </a:cubicBezTo>
                  <a:cubicBezTo>
                    <a:pt x="743080" y="162508"/>
                    <a:pt x="741265" y="140737"/>
                    <a:pt x="717680" y="140737"/>
                  </a:cubicBezTo>
                  <a:cubicBezTo>
                    <a:pt x="700444" y="140737"/>
                    <a:pt x="691372" y="146180"/>
                    <a:pt x="682301" y="159787"/>
                  </a:cubicBezTo>
                  <a:lnTo>
                    <a:pt x="673230" y="159787"/>
                  </a:lnTo>
                  <a:close/>
                  <a:moveTo>
                    <a:pt x="742173" y="193351"/>
                  </a:moveTo>
                  <a:cubicBezTo>
                    <a:pt x="738544" y="192444"/>
                    <a:pt x="731287" y="191537"/>
                    <a:pt x="724937" y="191537"/>
                  </a:cubicBezTo>
                  <a:cubicBezTo>
                    <a:pt x="708608" y="191537"/>
                    <a:pt x="691372" y="199701"/>
                    <a:pt x="691372" y="222380"/>
                  </a:cubicBezTo>
                  <a:cubicBezTo>
                    <a:pt x="691372" y="238708"/>
                    <a:pt x="704072" y="251408"/>
                    <a:pt x="719494" y="251408"/>
                  </a:cubicBezTo>
                  <a:cubicBezTo>
                    <a:pt x="730380" y="251408"/>
                    <a:pt x="737637" y="248687"/>
                    <a:pt x="743080" y="245058"/>
                  </a:cubicBezTo>
                  <a:lnTo>
                    <a:pt x="742173" y="193351"/>
                  </a:lnTo>
                  <a:close/>
                  <a:moveTo>
                    <a:pt x="870987" y="41858"/>
                  </a:moveTo>
                  <a:cubicBezTo>
                    <a:pt x="870987" y="35508"/>
                    <a:pt x="875523" y="34601"/>
                    <a:pt x="885501" y="34601"/>
                  </a:cubicBezTo>
                  <a:cubicBezTo>
                    <a:pt x="923601" y="34601"/>
                    <a:pt x="938115" y="55465"/>
                    <a:pt x="938115" y="86308"/>
                  </a:cubicBezTo>
                  <a:cubicBezTo>
                    <a:pt x="938115" y="117151"/>
                    <a:pt x="917251" y="137108"/>
                    <a:pt x="885501" y="137108"/>
                  </a:cubicBezTo>
                  <a:cubicBezTo>
                    <a:pt x="880965" y="137108"/>
                    <a:pt x="875523" y="137108"/>
                    <a:pt x="869173" y="136201"/>
                  </a:cubicBezTo>
                  <a:lnTo>
                    <a:pt x="870987" y="41858"/>
                  </a:lnTo>
                  <a:close/>
                  <a:moveTo>
                    <a:pt x="831072" y="239615"/>
                  </a:moveTo>
                  <a:cubicBezTo>
                    <a:pt x="831072" y="255037"/>
                    <a:pt x="826537" y="260480"/>
                    <a:pt x="811115" y="262294"/>
                  </a:cubicBezTo>
                  <a:lnTo>
                    <a:pt x="811115" y="268644"/>
                  </a:lnTo>
                  <a:lnTo>
                    <a:pt x="871894" y="268644"/>
                  </a:lnTo>
                  <a:cubicBezTo>
                    <a:pt x="876430" y="268644"/>
                    <a:pt x="881872" y="268644"/>
                    <a:pt x="886408" y="269551"/>
                  </a:cubicBezTo>
                  <a:cubicBezTo>
                    <a:pt x="891851" y="269551"/>
                    <a:pt x="896387" y="270458"/>
                    <a:pt x="900923" y="270458"/>
                  </a:cubicBezTo>
                  <a:cubicBezTo>
                    <a:pt x="939930" y="270458"/>
                    <a:pt x="985287" y="255944"/>
                    <a:pt x="985287" y="209680"/>
                  </a:cubicBezTo>
                  <a:cubicBezTo>
                    <a:pt x="985287" y="172487"/>
                    <a:pt x="962608" y="154344"/>
                    <a:pt x="929951" y="144365"/>
                  </a:cubicBezTo>
                  <a:lnTo>
                    <a:pt x="929951" y="143458"/>
                  </a:lnTo>
                  <a:cubicBezTo>
                    <a:pt x="956258" y="135294"/>
                    <a:pt x="981658" y="115337"/>
                    <a:pt x="981658" y="85401"/>
                  </a:cubicBezTo>
                  <a:cubicBezTo>
                    <a:pt x="981658" y="39137"/>
                    <a:pt x="934487" y="21901"/>
                    <a:pt x="894572" y="21901"/>
                  </a:cubicBezTo>
                  <a:cubicBezTo>
                    <a:pt x="886408" y="21901"/>
                    <a:pt x="878244" y="23715"/>
                    <a:pt x="861915" y="23715"/>
                  </a:cubicBezTo>
                  <a:cubicBezTo>
                    <a:pt x="847401" y="23715"/>
                    <a:pt x="832887" y="21901"/>
                    <a:pt x="815651" y="21901"/>
                  </a:cubicBezTo>
                  <a:lnTo>
                    <a:pt x="815651" y="30065"/>
                  </a:lnTo>
                  <a:cubicBezTo>
                    <a:pt x="824722" y="31880"/>
                    <a:pt x="831072" y="34601"/>
                    <a:pt x="831072" y="48208"/>
                  </a:cubicBezTo>
                  <a:cubicBezTo>
                    <a:pt x="831072" y="79958"/>
                    <a:pt x="831980" y="125315"/>
                    <a:pt x="831980" y="167951"/>
                  </a:cubicBezTo>
                  <a:lnTo>
                    <a:pt x="831980" y="239615"/>
                  </a:lnTo>
                  <a:close/>
                  <a:moveTo>
                    <a:pt x="869173" y="151622"/>
                  </a:moveTo>
                  <a:cubicBezTo>
                    <a:pt x="876430" y="151622"/>
                    <a:pt x="881872" y="151622"/>
                    <a:pt x="888222" y="151622"/>
                  </a:cubicBezTo>
                  <a:cubicBezTo>
                    <a:pt x="922694" y="151622"/>
                    <a:pt x="941744" y="176115"/>
                    <a:pt x="941744" y="207865"/>
                  </a:cubicBezTo>
                  <a:cubicBezTo>
                    <a:pt x="941744" y="235080"/>
                    <a:pt x="923601" y="256851"/>
                    <a:pt x="893665" y="256851"/>
                  </a:cubicBezTo>
                  <a:cubicBezTo>
                    <a:pt x="871894" y="256851"/>
                    <a:pt x="869173" y="253222"/>
                    <a:pt x="869173" y="234172"/>
                  </a:cubicBezTo>
                  <a:lnTo>
                    <a:pt x="869173" y="151622"/>
                  </a:lnTo>
                  <a:close/>
                  <a:moveTo>
                    <a:pt x="1152201" y="143458"/>
                  </a:moveTo>
                  <a:cubicBezTo>
                    <a:pt x="1163087" y="143458"/>
                    <a:pt x="1167623" y="149808"/>
                    <a:pt x="1167623" y="159787"/>
                  </a:cubicBezTo>
                  <a:cubicBezTo>
                    <a:pt x="1167623" y="171580"/>
                    <a:pt x="1169437" y="190630"/>
                    <a:pt x="1169437" y="210587"/>
                  </a:cubicBezTo>
                  <a:lnTo>
                    <a:pt x="1169437" y="245058"/>
                  </a:lnTo>
                  <a:cubicBezTo>
                    <a:pt x="1169437" y="256851"/>
                    <a:pt x="1164901" y="258665"/>
                    <a:pt x="1156737" y="261387"/>
                  </a:cubicBezTo>
                  <a:lnTo>
                    <a:pt x="1156737" y="268644"/>
                  </a:lnTo>
                  <a:cubicBezTo>
                    <a:pt x="1166715" y="268644"/>
                    <a:pt x="1176694" y="267737"/>
                    <a:pt x="1186673" y="267737"/>
                  </a:cubicBezTo>
                  <a:cubicBezTo>
                    <a:pt x="1196651" y="267737"/>
                    <a:pt x="1206630" y="268644"/>
                    <a:pt x="1217515" y="268644"/>
                  </a:cubicBezTo>
                  <a:lnTo>
                    <a:pt x="1217515" y="261387"/>
                  </a:lnTo>
                  <a:cubicBezTo>
                    <a:pt x="1207537" y="260480"/>
                    <a:pt x="1204815" y="257758"/>
                    <a:pt x="1204815" y="245058"/>
                  </a:cubicBezTo>
                  <a:lnTo>
                    <a:pt x="1204815" y="216030"/>
                  </a:lnTo>
                  <a:cubicBezTo>
                    <a:pt x="1204815" y="187908"/>
                    <a:pt x="1205722" y="168858"/>
                    <a:pt x="1205722" y="155251"/>
                  </a:cubicBezTo>
                  <a:cubicBezTo>
                    <a:pt x="1205722" y="142551"/>
                    <a:pt x="1228401" y="138922"/>
                    <a:pt x="1235658" y="138922"/>
                  </a:cubicBezTo>
                  <a:cubicBezTo>
                    <a:pt x="1261058" y="138922"/>
                    <a:pt x="1264687" y="165230"/>
                    <a:pt x="1264687" y="184280"/>
                  </a:cubicBezTo>
                  <a:lnTo>
                    <a:pt x="1264687" y="245965"/>
                  </a:lnTo>
                  <a:cubicBezTo>
                    <a:pt x="1264687" y="257758"/>
                    <a:pt x="1261965" y="260480"/>
                    <a:pt x="1251987" y="262294"/>
                  </a:cubicBezTo>
                  <a:lnTo>
                    <a:pt x="1251987" y="269551"/>
                  </a:lnTo>
                  <a:cubicBezTo>
                    <a:pt x="1262873" y="269551"/>
                    <a:pt x="1274665" y="268644"/>
                    <a:pt x="1285551" y="268644"/>
                  </a:cubicBezTo>
                  <a:cubicBezTo>
                    <a:pt x="1294623" y="268644"/>
                    <a:pt x="1302787" y="269551"/>
                    <a:pt x="1311858" y="269551"/>
                  </a:cubicBezTo>
                  <a:lnTo>
                    <a:pt x="1311858" y="262294"/>
                  </a:lnTo>
                  <a:cubicBezTo>
                    <a:pt x="1301880" y="259572"/>
                    <a:pt x="1299158" y="256851"/>
                    <a:pt x="1299158" y="245965"/>
                  </a:cubicBezTo>
                  <a:lnTo>
                    <a:pt x="1299158" y="170672"/>
                  </a:lnTo>
                  <a:cubicBezTo>
                    <a:pt x="1299158" y="140737"/>
                    <a:pt x="1285551" y="119872"/>
                    <a:pt x="1250173" y="119872"/>
                  </a:cubicBezTo>
                  <a:cubicBezTo>
                    <a:pt x="1235658" y="119872"/>
                    <a:pt x="1219330" y="128944"/>
                    <a:pt x="1206630" y="137108"/>
                  </a:cubicBezTo>
                  <a:cubicBezTo>
                    <a:pt x="1206630" y="130758"/>
                    <a:pt x="1206630" y="125315"/>
                    <a:pt x="1207537" y="118965"/>
                  </a:cubicBezTo>
                  <a:lnTo>
                    <a:pt x="1199373" y="118965"/>
                  </a:lnTo>
                  <a:cubicBezTo>
                    <a:pt x="1185765" y="127130"/>
                    <a:pt x="1173065" y="132572"/>
                    <a:pt x="1152201" y="137108"/>
                  </a:cubicBezTo>
                  <a:lnTo>
                    <a:pt x="1152201" y="143458"/>
                  </a:lnTo>
                  <a:close/>
                  <a:moveTo>
                    <a:pt x="1477865" y="262294"/>
                  </a:moveTo>
                  <a:cubicBezTo>
                    <a:pt x="1466980" y="258665"/>
                    <a:pt x="1454280" y="247780"/>
                    <a:pt x="1449744" y="242337"/>
                  </a:cubicBezTo>
                  <a:lnTo>
                    <a:pt x="1396222" y="179744"/>
                  </a:lnTo>
                  <a:lnTo>
                    <a:pt x="1423437" y="150715"/>
                  </a:lnTo>
                  <a:cubicBezTo>
                    <a:pt x="1431601" y="141644"/>
                    <a:pt x="1443394" y="133480"/>
                    <a:pt x="1456094" y="129851"/>
                  </a:cubicBezTo>
                  <a:lnTo>
                    <a:pt x="1456094" y="122594"/>
                  </a:lnTo>
                  <a:cubicBezTo>
                    <a:pt x="1447023" y="123501"/>
                    <a:pt x="1437951" y="123501"/>
                    <a:pt x="1429787" y="123501"/>
                  </a:cubicBezTo>
                  <a:cubicBezTo>
                    <a:pt x="1419808" y="123501"/>
                    <a:pt x="1410737" y="123501"/>
                    <a:pt x="1400758" y="122594"/>
                  </a:cubicBezTo>
                  <a:lnTo>
                    <a:pt x="1400758" y="129851"/>
                  </a:lnTo>
                  <a:cubicBezTo>
                    <a:pt x="1404387" y="131665"/>
                    <a:pt x="1407108" y="135294"/>
                    <a:pt x="1407108" y="138922"/>
                  </a:cubicBezTo>
                  <a:cubicBezTo>
                    <a:pt x="1407108" y="142551"/>
                    <a:pt x="1405294" y="147994"/>
                    <a:pt x="1398037" y="155251"/>
                  </a:cubicBezTo>
                  <a:lnTo>
                    <a:pt x="1369008" y="184280"/>
                  </a:lnTo>
                  <a:lnTo>
                    <a:pt x="1369008" y="17365"/>
                  </a:lnTo>
                  <a:lnTo>
                    <a:pt x="1360844" y="17365"/>
                  </a:lnTo>
                  <a:cubicBezTo>
                    <a:pt x="1348144" y="27344"/>
                    <a:pt x="1331815" y="34601"/>
                    <a:pt x="1313673" y="39137"/>
                  </a:cubicBezTo>
                  <a:lnTo>
                    <a:pt x="1313673" y="47301"/>
                  </a:lnTo>
                  <a:cubicBezTo>
                    <a:pt x="1322744" y="47301"/>
                    <a:pt x="1330908" y="55465"/>
                    <a:pt x="1331815" y="69980"/>
                  </a:cubicBezTo>
                  <a:cubicBezTo>
                    <a:pt x="1332722" y="83587"/>
                    <a:pt x="1334537" y="109894"/>
                    <a:pt x="1334537" y="130758"/>
                  </a:cubicBezTo>
                  <a:lnTo>
                    <a:pt x="1334537" y="245965"/>
                  </a:lnTo>
                  <a:cubicBezTo>
                    <a:pt x="1334537" y="254130"/>
                    <a:pt x="1331815" y="260480"/>
                    <a:pt x="1320930" y="262294"/>
                  </a:cubicBezTo>
                  <a:lnTo>
                    <a:pt x="1320930" y="269551"/>
                  </a:lnTo>
                  <a:cubicBezTo>
                    <a:pt x="1330908" y="268644"/>
                    <a:pt x="1339980" y="268644"/>
                    <a:pt x="1349051" y="268644"/>
                  </a:cubicBezTo>
                  <a:cubicBezTo>
                    <a:pt x="1359937" y="268644"/>
                    <a:pt x="1369915" y="269551"/>
                    <a:pt x="1380801" y="269551"/>
                  </a:cubicBezTo>
                  <a:lnTo>
                    <a:pt x="1380801" y="262294"/>
                  </a:lnTo>
                  <a:cubicBezTo>
                    <a:pt x="1372637" y="260480"/>
                    <a:pt x="1369008" y="255944"/>
                    <a:pt x="1369008" y="245965"/>
                  </a:cubicBezTo>
                  <a:lnTo>
                    <a:pt x="1369008" y="196980"/>
                  </a:lnTo>
                  <a:lnTo>
                    <a:pt x="1369915" y="196980"/>
                  </a:lnTo>
                  <a:lnTo>
                    <a:pt x="1406201" y="236894"/>
                  </a:lnTo>
                  <a:cubicBezTo>
                    <a:pt x="1412551" y="243244"/>
                    <a:pt x="1416180" y="251408"/>
                    <a:pt x="1416180" y="255944"/>
                  </a:cubicBezTo>
                  <a:cubicBezTo>
                    <a:pt x="1416180" y="259572"/>
                    <a:pt x="1413458" y="262294"/>
                    <a:pt x="1410737" y="262294"/>
                  </a:cubicBezTo>
                  <a:lnTo>
                    <a:pt x="1410737" y="269551"/>
                  </a:lnTo>
                  <a:cubicBezTo>
                    <a:pt x="1422530" y="269551"/>
                    <a:pt x="1435230" y="268644"/>
                    <a:pt x="1447023" y="268644"/>
                  </a:cubicBezTo>
                  <a:cubicBezTo>
                    <a:pt x="1457001" y="268644"/>
                    <a:pt x="1467887" y="269551"/>
                    <a:pt x="1477865" y="269551"/>
                  </a:cubicBezTo>
                  <a:lnTo>
                    <a:pt x="1477865" y="262294"/>
                  </a:lnTo>
                  <a:close/>
                  <a:moveTo>
                    <a:pt x="12830" y="332144"/>
                  </a:moveTo>
                  <a:lnTo>
                    <a:pt x="12830" y="337587"/>
                  </a:lnTo>
                  <a:lnTo>
                    <a:pt x="12830" y="337587"/>
                  </a:lnTo>
                  <a:lnTo>
                    <a:pt x="12830" y="343029"/>
                  </a:lnTo>
                  <a:lnTo>
                    <a:pt x="1478773" y="343029"/>
                  </a:lnTo>
                  <a:lnTo>
                    <a:pt x="1478773" y="337587"/>
                  </a:lnTo>
                  <a:lnTo>
                    <a:pt x="1478773" y="337587"/>
                  </a:lnTo>
                  <a:lnTo>
                    <a:pt x="1478773" y="332144"/>
                  </a:lnTo>
                  <a:lnTo>
                    <a:pt x="12830" y="332144"/>
                  </a:lnTo>
                  <a:close/>
                </a:path>
              </a:pathLst>
            </a:custGeom>
            <a:solidFill>
              <a:schemeClr val="tx1"/>
            </a:solidFill>
            <a:ln w="90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15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88" b="0" i="0" u="none" strike="noStrike" kern="0" cap="none" spc="0" normalizeH="0" baseline="0" noProof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Calibri"/>
                <a:ea typeface="ＭＳ Ｐゴシック" charset="0"/>
                <a:cs typeface="Calibri"/>
                <a:sym typeface="Calibri"/>
              </a:endParaRPr>
            </a:p>
          </p:txBody>
        </p:sp>
      </p:grpSp>
      <p:sp>
        <p:nvSpPr>
          <p:cNvPr id="41" name="CuadroTexto 40"/>
          <p:cNvSpPr txBox="1"/>
          <p:nvPr/>
        </p:nvSpPr>
        <p:spPr>
          <a:xfrm>
            <a:off x="7335572" y="2745773"/>
            <a:ext cx="2669320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0" b="0" i="0" u="none" strike="noStrike" kern="1200" cap="none" spc="0" normalizeH="0" baseline="0" noProof="0">
                <a:ln>
                  <a:noFill/>
                </a:ln>
                <a:solidFill>
                  <a:srgbClr val="4ABDF0"/>
                </a:solidFill>
                <a:effectLst/>
                <a:uLnTx/>
                <a:uFillTx/>
                <a:latin typeface="Segoe UI Light"/>
                <a:ea typeface="ＭＳ Ｐゴシック" pitchFamily="34" charset="-128"/>
                <a:cs typeface="Leelawadee UI" panose="020B0502040204020203" pitchFamily="34" charset="-34"/>
              </a:rPr>
              <a:t>Muchas</a:t>
            </a:r>
          </a:p>
          <a:p>
            <a:pPr marL="0" marR="0" lvl="0" indent="0" algn="l" defTabSz="914400" rtl="0" eaLnBrk="1" fontAlgn="auto" latinLnBrk="0" hangingPunct="1">
              <a:lnSpc>
                <a:spcPts val="6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0" b="0" i="0" u="none" strike="noStrike" kern="1200" cap="none" spc="0" normalizeH="0" baseline="0" noProof="0">
                <a:ln>
                  <a:noFill/>
                </a:ln>
                <a:solidFill>
                  <a:srgbClr val="4ABDF0"/>
                </a:solidFill>
                <a:effectLst/>
                <a:uLnTx/>
                <a:uFillTx/>
                <a:latin typeface="Segoe UI Light"/>
                <a:ea typeface="ＭＳ Ｐゴシック" pitchFamily="34" charset="-128"/>
                <a:cs typeface="Leelawadee UI" panose="020B0502040204020203" pitchFamily="34" charset="-34"/>
              </a:rPr>
              <a:t>gracias</a:t>
            </a:r>
          </a:p>
        </p:txBody>
      </p:sp>
      <p:sp>
        <p:nvSpPr>
          <p:cNvPr id="42" name="Text Placeholder 208">
            <a:extLst>
              <a:ext uri="{FF2B5EF4-FFF2-40B4-BE49-F238E27FC236}">
                <a16:creationId xmlns:a16="http://schemas.microsoft.com/office/drawing/2014/main" id="{933CF14C-D970-4DEA-B2FF-2B082BC8F3C6}"/>
              </a:ext>
            </a:extLst>
          </p:cNvPr>
          <p:cNvSpPr txBox="1">
            <a:spLocks/>
          </p:cNvSpPr>
          <p:nvPr/>
        </p:nvSpPr>
        <p:spPr>
          <a:xfrm>
            <a:off x="7115709" y="-163800"/>
            <a:ext cx="0" cy="7185600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0"/>
                  </a:prstClr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.</a:t>
            </a: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alpha val="0"/>
                </a:prstClr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3" name="Text Placeholder 208">
            <a:extLst>
              <a:ext uri="{FF2B5EF4-FFF2-40B4-BE49-F238E27FC236}">
                <a16:creationId xmlns:a16="http://schemas.microsoft.com/office/drawing/2014/main" id="{2DCE2F4C-9EDC-43CE-B22A-014C245D345D}"/>
              </a:ext>
            </a:extLst>
          </p:cNvPr>
          <p:cNvSpPr txBox="1">
            <a:spLocks/>
          </p:cNvSpPr>
          <p:nvPr/>
        </p:nvSpPr>
        <p:spPr>
          <a:xfrm>
            <a:off x="7115709" y="2536281"/>
            <a:ext cx="0" cy="2196000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txBody>
          <a:bodyPr wrap="none"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" kern="1200">
                <a:solidFill>
                  <a:schemeClr val="bg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0"/>
                  </a:prstClr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.</a:t>
            </a: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alpha val="0"/>
                </a:prstClr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83338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Resultat d'imatges per a &quot;mobile technology big data&quot;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ángulo 2"/>
          <p:cNvSpPr/>
          <p:nvPr/>
        </p:nvSpPr>
        <p:spPr>
          <a:xfrm>
            <a:off x="-13648" y="-27296"/>
            <a:ext cx="12205647" cy="985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5" name="Rectángulo 24"/>
          <p:cNvSpPr/>
          <p:nvPr/>
        </p:nvSpPr>
        <p:spPr>
          <a:xfrm>
            <a:off x="0" y="5102384"/>
            <a:ext cx="12192000" cy="17884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0" y="5045250"/>
            <a:ext cx="12192000" cy="755475"/>
          </a:xfrm>
          <a:prstGeom prst="rect">
            <a:avLst/>
          </a:prstGeom>
          <a:solidFill>
            <a:srgbClr val="258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1" name="CuadroTexto 30"/>
          <p:cNvSpPr txBox="1"/>
          <p:nvPr/>
        </p:nvSpPr>
        <p:spPr>
          <a:xfrm>
            <a:off x="1116561" y="5113152"/>
            <a:ext cx="995887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ＭＳ Ｐゴシック" pitchFamily="34" charset="-128"/>
                <a:cs typeface="Arial" panose="020B0604020202020204" pitchFamily="34" charset="0"/>
              </a:rPr>
              <a:t>www.caixabankresearch.com</a:t>
            </a:r>
          </a:p>
        </p:txBody>
      </p:sp>
      <p:pic>
        <p:nvPicPr>
          <p:cNvPr id="34" name="Imagen 33"/>
          <p:cNvPicPr>
            <a:picLocks noChangeAspect="1"/>
          </p:cNvPicPr>
          <p:nvPr/>
        </p:nvPicPr>
        <p:blipFill rotWithShape="1">
          <a:blip r:embed="rId4" cstate="print"/>
          <a:srcRect l="4316" t="55368" r="54249" b="30558"/>
          <a:stretch/>
        </p:blipFill>
        <p:spPr>
          <a:xfrm>
            <a:off x="3138985" y="5967688"/>
            <a:ext cx="6255735" cy="849368"/>
          </a:xfrm>
          <a:prstGeom prst="rect">
            <a:avLst/>
          </a:prstGeom>
        </p:spPr>
      </p:pic>
      <p:sp>
        <p:nvSpPr>
          <p:cNvPr id="20" name="Rectángulo 19"/>
          <p:cNvSpPr/>
          <p:nvPr/>
        </p:nvSpPr>
        <p:spPr>
          <a:xfrm>
            <a:off x="-13647" y="926135"/>
            <a:ext cx="12205647" cy="4109889"/>
          </a:xfrm>
          <a:prstGeom prst="rect">
            <a:avLst/>
          </a:prstGeom>
          <a:solidFill>
            <a:schemeClr val="bg1"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1399168" y="299032"/>
            <a:ext cx="9248775" cy="4624388"/>
            <a:chOff x="1399168" y="395288"/>
            <a:chExt cx="9248775" cy="4624388"/>
          </a:xfrm>
        </p:grpSpPr>
        <p:grpSp>
          <p:nvGrpSpPr>
            <p:cNvPr id="44" name="Grupo 43"/>
            <p:cNvGrpSpPr/>
            <p:nvPr/>
          </p:nvGrpSpPr>
          <p:grpSpPr>
            <a:xfrm>
              <a:off x="1399168" y="395288"/>
              <a:ext cx="9248775" cy="4624388"/>
              <a:chOff x="1495424" y="395288"/>
              <a:chExt cx="9248775" cy="4624388"/>
            </a:xfrm>
          </p:grpSpPr>
          <p:pic>
            <p:nvPicPr>
              <p:cNvPr id="45" name="Imagen 44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495424" y="395288"/>
                <a:ext cx="9248775" cy="4624388"/>
              </a:xfrm>
              <a:prstGeom prst="rect">
                <a:avLst/>
              </a:prstGeom>
            </p:spPr>
          </p:pic>
          <p:sp>
            <p:nvSpPr>
              <p:cNvPr id="46" name="Rectángulo 45"/>
              <p:cNvSpPr/>
              <p:nvPr/>
            </p:nvSpPr>
            <p:spPr>
              <a:xfrm>
                <a:off x="5828044" y="3242607"/>
                <a:ext cx="2258122" cy="425041"/>
              </a:xfrm>
              <a:prstGeom prst="rect">
                <a:avLst/>
              </a:prstGeom>
              <a:gradFill flip="none" rotWithShape="1">
                <a:gsLst>
                  <a:gs pos="0">
                    <a:srgbClr val="D0D0D5"/>
                  </a:gs>
                  <a:gs pos="100000">
                    <a:srgbClr val="B2B2B6"/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200" b="1" i="0" u="sng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7" name="Rectángulo 46"/>
              <p:cNvSpPr/>
              <p:nvPr/>
            </p:nvSpPr>
            <p:spPr>
              <a:xfrm>
                <a:off x="2245398" y="2351314"/>
                <a:ext cx="3445771" cy="216419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200" b="1" i="0" u="sng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8" name="Rectángulo redondeado 47"/>
              <p:cNvSpPr/>
              <p:nvPr/>
            </p:nvSpPr>
            <p:spPr>
              <a:xfrm>
                <a:off x="9836150" y="3212869"/>
                <a:ext cx="709595" cy="1450571"/>
              </a:xfrm>
              <a:prstGeom prst="roundRect">
                <a:avLst>
                  <a:gd name="adj" fmla="val 2469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200" b="1" i="0" u="sng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49" name="Forma libre 48"/>
              <p:cNvSpPr/>
              <p:nvPr/>
            </p:nvSpPr>
            <p:spPr>
              <a:xfrm>
                <a:off x="8162317" y="2145156"/>
                <a:ext cx="1777039" cy="2418177"/>
              </a:xfrm>
              <a:custGeom>
                <a:avLst/>
                <a:gdLst>
                  <a:gd name="connsiteX0" fmla="*/ 22213 w 1777039"/>
                  <a:gd name="connsiteY0" fmla="*/ 0 h 2418177"/>
                  <a:gd name="connsiteX1" fmla="*/ 1754826 w 1777039"/>
                  <a:gd name="connsiteY1" fmla="*/ 0 h 2418177"/>
                  <a:gd name="connsiteX2" fmla="*/ 1777039 w 1777039"/>
                  <a:gd name="connsiteY2" fmla="*/ 22213 h 2418177"/>
                  <a:gd name="connsiteX3" fmla="*/ 1777039 w 1777039"/>
                  <a:gd name="connsiteY3" fmla="*/ 979044 h 2418177"/>
                  <a:gd name="connsiteX4" fmla="*/ 1745662 w 1777039"/>
                  <a:gd name="connsiteY4" fmla="*/ 979044 h 2418177"/>
                  <a:gd name="connsiteX5" fmla="*/ 1624621 w 1777039"/>
                  <a:gd name="connsiteY5" fmla="*/ 1100085 h 2418177"/>
                  <a:gd name="connsiteX6" fmla="*/ 1624621 w 1777039"/>
                  <a:gd name="connsiteY6" fmla="*/ 2418177 h 2418177"/>
                  <a:gd name="connsiteX7" fmla="*/ 22213 w 1777039"/>
                  <a:gd name="connsiteY7" fmla="*/ 2418177 h 2418177"/>
                  <a:gd name="connsiteX8" fmla="*/ 0 w 1777039"/>
                  <a:gd name="connsiteY8" fmla="*/ 2395964 h 2418177"/>
                  <a:gd name="connsiteX9" fmla="*/ 0 w 1777039"/>
                  <a:gd name="connsiteY9" fmla="*/ 22213 h 2418177"/>
                  <a:gd name="connsiteX10" fmla="*/ 22213 w 1777039"/>
                  <a:gd name="connsiteY10" fmla="*/ 0 h 2418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77039" h="2418177">
                    <a:moveTo>
                      <a:pt x="22213" y="0"/>
                    </a:moveTo>
                    <a:lnTo>
                      <a:pt x="1754826" y="0"/>
                    </a:lnTo>
                    <a:cubicBezTo>
                      <a:pt x="1767094" y="0"/>
                      <a:pt x="1777039" y="9945"/>
                      <a:pt x="1777039" y="22213"/>
                    </a:cubicBezTo>
                    <a:lnTo>
                      <a:pt x="1777039" y="979044"/>
                    </a:lnTo>
                    <a:lnTo>
                      <a:pt x="1745662" y="979044"/>
                    </a:lnTo>
                    <a:cubicBezTo>
                      <a:pt x="1678813" y="979044"/>
                      <a:pt x="1624621" y="1033236"/>
                      <a:pt x="1624621" y="1100085"/>
                    </a:cubicBezTo>
                    <a:lnTo>
                      <a:pt x="1624621" y="2418177"/>
                    </a:lnTo>
                    <a:lnTo>
                      <a:pt x="22213" y="2418177"/>
                    </a:lnTo>
                    <a:cubicBezTo>
                      <a:pt x="9945" y="2418177"/>
                      <a:pt x="0" y="2408232"/>
                      <a:pt x="0" y="2395964"/>
                    </a:cubicBezTo>
                    <a:lnTo>
                      <a:pt x="0" y="22213"/>
                    </a:lnTo>
                    <a:cubicBezTo>
                      <a:pt x="0" y="9945"/>
                      <a:pt x="9945" y="0"/>
                      <a:pt x="2221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200" b="1" i="0" u="sng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  <p:sp>
            <p:nvSpPr>
              <p:cNvPr id="50" name="Forma libre 49"/>
              <p:cNvSpPr/>
              <p:nvPr/>
            </p:nvSpPr>
            <p:spPr>
              <a:xfrm>
                <a:off x="4582198" y="704975"/>
                <a:ext cx="4257002" cy="2333601"/>
              </a:xfrm>
              <a:custGeom>
                <a:avLst/>
                <a:gdLst>
                  <a:gd name="connsiteX0" fmla="*/ 0 w 4257002"/>
                  <a:gd name="connsiteY0" fmla="*/ 0 h 2333601"/>
                  <a:gd name="connsiteX1" fmla="*/ 4257002 w 4257002"/>
                  <a:gd name="connsiteY1" fmla="*/ 0 h 2333601"/>
                  <a:gd name="connsiteX2" fmla="*/ 4257002 w 4257002"/>
                  <a:gd name="connsiteY2" fmla="*/ 1345925 h 2333601"/>
                  <a:gd name="connsiteX3" fmla="*/ 3598527 w 4257002"/>
                  <a:gd name="connsiteY3" fmla="*/ 1345925 h 2333601"/>
                  <a:gd name="connsiteX4" fmla="*/ 3501873 w 4257002"/>
                  <a:gd name="connsiteY4" fmla="*/ 1442579 h 2333601"/>
                  <a:gd name="connsiteX5" fmla="*/ 3501873 w 4257002"/>
                  <a:gd name="connsiteY5" fmla="*/ 2333601 h 2333601"/>
                  <a:gd name="connsiteX6" fmla="*/ 1239211 w 4257002"/>
                  <a:gd name="connsiteY6" fmla="*/ 2333601 h 2333601"/>
                  <a:gd name="connsiteX7" fmla="*/ 1239211 w 4257002"/>
                  <a:gd name="connsiteY7" fmla="*/ 1591804 h 2333601"/>
                  <a:gd name="connsiteX8" fmla="*/ 1142557 w 4257002"/>
                  <a:gd name="connsiteY8" fmla="*/ 1495150 h 2333601"/>
                  <a:gd name="connsiteX9" fmla="*/ 0 w 4257002"/>
                  <a:gd name="connsiteY9" fmla="*/ 1495150 h 2333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57002" h="2333601">
                    <a:moveTo>
                      <a:pt x="0" y="0"/>
                    </a:moveTo>
                    <a:lnTo>
                      <a:pt x="4257002" y="0"/>
                    </a:lnTo>
                    <a:lnTo>
                      <a:pt x="4257002" y="1345925"/>
                    </a:lnTo>
                    <a:lnTo>
                      <a:pt x="3598527" y="1345925"/>
                    </a:lnTo>
                    <a:cubicBezTo>
                      <a:pt x="3545146" y="1345925"/>
                      <a:pt x="3501873" y="1389198"/>
                      <a:pt x="3501873" y="1442579"/>
                    </a:cubicBezTo>
                    <a:lnTo>
                      <a:pt x="3501873" y="2333601"/>
                    </a:lnTo>
                    <a:lnTo>
                      <a:pt x="1239211" y="2333601"/>
                    </a:lnTo>
                    <a:lnTo>
                      <a:pt x="1239211" y="1591804"/>
                    </a:lnTo>
                    <a:cubicBezTo>
                      <a:pt x="1239211" y="1538423"/>
                      <a:pt x="1195938" y="1495150"/>
                      <a:pt x="1142557" y="1495150"/>
                    </a:cubicBezTo>
                    <a:lnTo>
                      <a:pt x="0" y="149515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200" b="1" i="0" u="sng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+mn-cs"/>
                </a:endParaRPr>
              </a:p>
            </p:txBody>
          </p:sp>
        </p:grpSp>
        <p:pic>
          <p:nvPicPr>
            <p:cNvPr id="51" name="Picture 2" descr="L:\9012\Patricia Esteban\04_Comunicació\00_Canvi MARCA CaixaBank\Logos_CaixaBank_Research\Logos\Horizontal\Color\Horizontal\JPG\JPG_72dpi_RGB\CaixaBank_Research_logo_Color_RGB_horizontal_72dpi_fondo_blanco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349297" y="1398413"/>
              <a:ext cx="2457042" cy="848542"/>
            </a:xfrm>
            <a:prstGeom prst="rect">
              <a:avLst/>
            </a:prstGeom>
            <a:noFill/>
          </p:spPr>
        </p:pic>
        <p:pic>
          <p:nvPicPr>
            <p:cNvPr id="52" name="Picture 2" descr="L:\9012\Patricia Esteban\04_Comunicació\00_Canvi MARCA CaixaBank\Logos_CaixaBank_Research\Logos\Horizontal\Color\Horizontal\JPG\JPG_72dpi_RGB\CaixaBank_Research_logo_Color_RGB_horizontal_72dpi_fondo_blanco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828433" y="3070818"/>
              <a:ext cx="1928627" cy="666053"/>
            </a:xfrm>
            <a:prstGeom prst="rect">
              <a:avLst/>
            </a:prstGeom>
            <a:noFill/>
          </p:spPr>
        </p:pic>
        <p:pic>
          <p:nvPicPr>
            <p:cNvPr id="53" name="Picture 2" descr="L:\9012\Patricia Esteban\04_Comunicació\00_Canvi MARCA CaixaBank\Logos_CaixaBank_Research\Logos\Horizontal\Color\Horizontal\JPG\JPG_72dpi_RGB\CaixaBank_Research_logo_Color_RGB_horizontal_72dpi_fondo_blanco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9760009" y="3820590"/>
              <a:ext cx="705344" cy="243592"/>
            </a:xfrm>
            <a:prstGeom prst="rect">
              <a:avLst/>
            </a:prstGeom>
            <a:noFill/>
          </p:spPr>
        </p:pic>
        <p:pic>
          <p:nvPicPr>
            <p:cNvPr id="54" name="Picture 2" descr="L:\9012\Patricia Esteban\04_Comunicació\00_Canvi MARCA CaixaBank\Logos_CaixaBank_Research\Logos\Horizontal\Color\Horizontal\JPG\JPG_72dpi_RGB\CaixaBank_Research_logo_Color_RGB_horizontal_72dpi_fondo_blanco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354210" y="3155537"/>
              <a:ext cx="1160982" cy="40094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98372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F73A5B9-026E-44B2-B87E-DEADDC9969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24264" y="3025420"/>
            <a:ext cx="8667736" cy="214314"/>
          </a:xfrm>
        </p:spPr>
        <p:txBody>
          <a:bodyPr/>
          <a:lstStyle/>
          <a:p>
            <a:r>
              <a:rPr lang="es-ES" sz="8000" b="1" dirty="0"/>
              <a:t>ANEXO</a:t>
            </a:r>
          </a:p>
        </p:txBody>
      </p:sp>
    </p:spTree>
    <p:extLst>
      <p:ext uri="{BB962C8B-B14F-4D97-AF65-F5344CB8AC3E}">
        <p14:creationId xmlns:p14="http://schemas.microsoft.com/office/powerpoint/2010/main" val="42352940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47D212D-A0D8-4B46-B630-B386F08F43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Envejecimiento a nivel regional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A4E14AD2-BBE9-4B06-8C7D-16C298796E4A}"/>
              </a:ext>
            </a:extLst>
          </p:cNvPr>
          <p:cNvSpPr/>
          <p:nvPr/>
        </p:nvSpPr>
        <p:spPr>
          <a:xfrm>
            <a:off x="688716" y="6404330"/>
            <a:ext cx="1107757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20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Fuente</a:t>
            </a:r>
            <a:r>
              <a:rPr lang="es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: CaixaBank Research, a partir de datos de </a:t>
            </a:r>
            <a:r>
              <a:rPr lang="es-ES" sz="1200" dirty="0" err="1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Reg</a:t>
            </a:r>
            <a:r>
              <a:rPr lang="es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 Data </a:t>
            </a:r>
            <a:r>
              <a:rPr lang="es-ES" sz="1200" dirty="0" err="1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Dem</a:t>
            </a:r>
            <a:r>
              <a:rPr lang="es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 (España) y de Eurostat (Portugal)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7D4AA134-D98F-4D71-8CE1-80458D24D7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716" y="986262"/>
            <a:ext cx="9512559" cy="5418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5091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9857B0C-18F9-4415-A043-FAB91E960D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Tasa de dependencia – con y sin flujos migratorios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AC9A56F4-E5CF-408E-A98B-0015DEFED2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996765"/>
              </p:ext>
            </p:extLst>
          </p:nvPr>
        </p:nvGraphicFramePr>
        <p:xfrm>
          <a:off x="593725" y="1649608"/>
          <a:ext cx="864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A505D3CE-C11D-4F63-AEEE-C091B407B725}"/>
              </a:ext>
            </a:extLst>
          </p:cNvPr>
          <p:cNvSpPr txBox="1"/>
          <p:nvPr/>
        </p:nvSpPr>
        <p:spPr>
          <a:xfrm>
            <a:off x="780664" y="5969608"/>
            <a:ext cx="108176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20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Nota: </a:t>
            </a:r>
            <a:r>
              <a:rPr lang="es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(*) La tasa de dependencia  corresponde a la proporción de población mayor de 65 años respecto a la que se encuentra en edad de trabajar.</a:t>
            </a:r>
            <a:endParaRPr lang="es-ES" sz="1200" b="1" dirty="0">
              <a:solidFill>
                <a:prstClr val="white">
                  <a:lumMod val="50000"/>
                </a:prstClr>
              </a:solidFill>
              <a:latin typeface="Calibri" pitchFamily="34" charset="0"/>
              <a:ea typeface="ＭＳ Ｐゴシック" pitchFamily="34" charset="-128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20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Fuente: </a:t>
            </a:r>
            <a:r>
              <a:rPr lang="es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CaixaBank Research, a partir de datos del INE España y de Eurostat.</a:t>
            </a:r>
            <a:r>
              <a:rPr lang="es-ES" sz="120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				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1C8A710-B7B6-4E64-8F99-A8A1E34BEFA0}"/>
              </a:ext>
            </a:extLst>
          </p:cNvPr>
          <p:cNvSpPr txBox="1"/>
          <p:nvPr/>
        </p:nvSpPr>
        <p:spPr>
          <a:xfrm>
            <a:off x="780664" y="1233457"/>
            <a:ext cx="6352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(%)</a:t>
            </a:r>
          </a:p>
        </p:txBody>
      </p:sp>
    </p:spTree>
    <p:extLst>
      <p:ext uri="{BB962C8B-B14F-4D97-AF65-F5344CB8AC3E}">
        <p14:creationId xmlns:p14="http://schemas.microsoft.com/office/powerpoint/2010/main" val="30411578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E73ACE7-177A-42A2-9791-DB7FF44101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Estrategia empírica: PIB per cápita y envejecimiento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idx="4294967295"/>
          </p:nvPr>
        </p:nvSpPr>
        <p:spPr>
          <a:xfrm>
            <a:off x="600075" y="925513"/>
            <a:ext cx="11591925" cy="341312"/>
          </a:xfrm>
          <a:prstGeom prst="rect">
            <a:avLst/>
          </a:prstGeom>
        </p:spPr>
        <p:txBody>
          <a:bodyPr/>
          <a:lstStyle/>
          <a:p>
            <a:r>
              <a:rPr lang="es-ES"/>
              <a:t>Estrategia Empírica</a:t>
            </a:r>
            <a:endParaRPr lang="es-E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CuadroTexto 6"/>
              <p:cNvSpPr txBox="1"/>
              <p:nvPr/>
            </p:nvSpPr>
            <p:spPr>
              <a:xfrm>
                <a:off x="6218738" y="1993421"/>
                <a:ext cx="5764958" cy="42915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Ø"/>
                </a:pPr>
                <a:r>
                  <a:rPr lang="es-ES" sz="1400" dirty="0">
                    <a:solidFill>
                      <a:prstClr val="black"/>
                    </a:solidFill>
                    <a:latin typeface="Calibri" panose="020F0502020204030204" pitchFamily="34" charset="0"/>
                  </a:rPr>
                  <a:t>Estimamos PIB per cápita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s-ES" sz="14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f>
                          <m:fPr>
                            <m:ctrlPr>
                              <a:rPr lang="es-ES" sz="14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s-ES" sz="14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𝑃𝐼𝐵</m:t>
                            </m:r>
                          </m:num>
                          <m:den>
                            <m:r>
                              <a:rPr lang="es-ES" sz="1400" i="1">
                                <a:solidFill>
                                  <a:prstClr val="black"/>
                                </a:solidFill>
                                <a:latin typeface="Cambria Math" panose="02040503050406030204" pitchFamily="18" charset="0"/>
                              </a:rPr>
                              <m:t>𝑁</m:t>
                            </m:r>
                          </m:den>
                        </m:f>
                      </m:e>
                    </m:d>
                    <m:r>
                      <a:rPr lang="es-ES" sz="1400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s-ES" sz="1400" dirty="0">
                    <a:solidFill>
                      <a:prstClr val="black"/>
                    </a:solidFill>
                    <a:latin typeface="Cambria Math" panose="02040503050406030204" pitchFamily="18" charset="0"/>
                  </a:rPr>
                  <a:t>en función del envejecimiento y variables de control (%empleados en cada sector, saldo migratorio, efectos fijos de año):</a:t>
                </a:r>
              </a:p>
              <a:p>
                <a:pPr lvl="1">
                  <a:spcBef>
                    <a:spcPts val="600"/>
                  </a:spcBef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right"/>
                    </m:oMathParaPr>
                    <m:oMath xmlns:m="http://schemas.openxmlformats.org/officeDocument/2006/math">
                      <m:func>
                        <m:funcPr>
                          <m:ctrlP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kumimoji="0" lang="ca-ES" sz="12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l</m:t>
                          </m:r>
                          <m:r>
                            <m:rPr>
                              <m:sty m:val="p"/>
                            </m:rPr>
                            <a:rPr kumimoji="0" lang="es-ES" sz="1200" b="0" i="0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n</m:t>
                          </m:r>
                        </m:fName>
                        <m:e>
                          <m:sSub>
                            <m:sSubPr>
                              <m:ctrlP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0" lang="ca-ES" sz="12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𝑌</m:t>
                              </m:r>
                            </m:e>
                            <m:sub>
                              <m:r>
                                <a:rPr kumimoji="0" lang="es-ES" sz="12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kumimoji="0" lang="ca-ES" sz="12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</m:e>
                      </m:func>
                      <m:r>
                        <a:rPr kumimoji="0" lang="es-ES" sz="1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−</m:t>
                      </m:r>
                      <m:r>
                        <m:rPr>
                          <m:sty m:val="p"/>
                        </m:rPr>
                        <a:rPr kumimoji="0" lang="es-ES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ln</m:t>
                      </m:r>
                      <m:r>
                        <a:rPr kumimoji="0" lang="es-ES" sz="1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𝑌</m:t>
                          </m:r>
                        </m:e>
                        <m:sub>
                          <m: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𝑐</m:t>
                          </m:r>
                          <m: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−10</m:t>
                          </m:r>
                        </m:sub>
                      </m:sSub>
                      <m:r>
                        <a:rPr kumimoji="0" lang="ca-E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kumimoji="0" lang="es-ES" sz="12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kumimoji="0" lang="ca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𝛿</m:t>
                          </m:r>
                        </m:e>
                        <m:sub>
                          <m: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kumimoji="0" lang="ca-E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kumimoji="0" lang="es-ES" sz="1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𝛽</m:t>
                      </m:r>
                      <m:d>
                        <m:dPr>
                          <m:begChr m:val="["/>
                          <m:endChr m:val="]"/>
                          <m:ctrlP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kumimoji="0" lang="es-ES" sz="1200" b="0" i="0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d>
                            <m:dPr>
                              <m:ctrlP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kumimoji="0" lang="es-ES" sz="1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</m:t>
                                      </m:r>
                                    </m:e>
                                    <m:sub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𝑁</m:t>
                                      </m:r>
                                    </m:e>
                                    <m:sub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d>
                          <m: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r>
                            <m:rPr>
                              <m:sty m:val="p"/>
                            </m:rPr>
                            <a:rPr kumimoji="0" lang="es-ES" sz="1200" b="0" i="0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ln</m:t>
                          </m:r>
                          <m:d>
                            <m:dPr>
                              <m:ctrlP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kumimoji="0" lang="es-ES" sz="1200" b="0" i="1" u="none" strike="noStrike" kern="1200" cap="none" spc="0" normalizeH="0" baseline="0" noProof="0" smtClean="0">
                                      <a:ln>
                                        <a:noFill/>
                                      </a:ln>
                                      <a:solidFill>
                                        <a:prstClr val="black"/>
                                      </a:solidFill>
                                      <a:effectLst/>
                                      <a:uLnTx/>
                                      <a:uFillTx/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</m:t>
                                      </m:r>
                                    </m:e>
                                    <m:sub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−10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𝑁</m:t>
                                      </m:r>
                                    </m:e>
                                    <m:sub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𝑐</m:t>
                                      </m:r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,</m:t>
                                      </m:r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𝑡</m:t>
                                      </m:r>
                                      <m:r>
                                        <a:rPr kumimoji="0" lang="es-ES" sz="1200" b="0" i="1" u="none" strike="noStrike" kern="1200" cap="none" spc="0" normalizeH="0" baseline="0" noProof="0" smtClean="0">
                                          <a:ln>
                                            <a:noFill/>
                                          </a:ln>
                                          <a:solidFill>
                                            <a:prstClr val="black"/>
                                          </a:solidFill>
                                          <a:effectLst/>
                                          <a:uLnTx/>
                                          <a:uFillTx/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−10</m:t>
                                      </m:r>
                                    </m:sub>
                                  </m:sSub>
                                </m:den>
                              </m:f>
                            </m:e>
                          </m:d>
                        </m:e>
                      </m:d>
                      <m:r>
                        <a:rPr kumimoji="0" lang="ca-E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kumimoji="0" lang="ca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sSup>
                            <m:sSupPr>
                              <m:ctrlP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𝑋</m:t>
                              </m:r>
                            </m:e>
                            <m:sup>
                              <m: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′</m:t>
                              </m:r>
                            </m:sup>
                          </m:sSup>
                        </m:e>
                        <m:sub>
                          <m: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𝑐</m:t>
                          </m:r>
                          <m: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kumimoji="0" lang="es-ES" sz="1200" b="0" i="1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kumimoji="0" lang="ca-E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kumimoji="0" lang="ca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kumimoji="0" lang="ca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0" lang="ca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b>
                              <m: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kumimoji="0" lang="es-ES" sz="1200" b="0" i="1" u="none" strike="noStrike" kern="1200" cap="none" spc="0" normalizeH="0" baseline="0" noProof="0" smtClean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𝜀</m:t>
                              </m:r>
                            </m:e>
                            <m:sub>
                              <m: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  <m: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  <m:r>
                                <a:rPr kumimoji="0" lang="es-ES" sz="1200" b="0" i="1" u="none" strike="noStrike" kern="1200" cap="none" spc="0" normalizeH="0" baseline="0" noProof="0" smtClean="0">
                                  <a:ln>
                                    <a:noFill/>
                                  </a:ln>
                                  <a:solidFill>
                                    <a:prstClr val="black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</a:rPr>
                                <m:t>−10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</a:endParaRPr>
              </a:p>
              <a:p>
                <a:pPr marL="285750" indent="-285750"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Ø"/>
                </a:pPr>
                <a:r>
                  <a:rPr lang="es-ES" sz="1400" dirty="0">
                    <a:solidFill>
                      <a:prstClr val="black"/>
                    </a:solidFill>
                    <a:latin typeface="Calibri" panose="020F0502020204030204" pitchFamily="34" charset="0"/>
                  </a:rPr>
                  <a:t>Realizamos la misma estimación para cada componente de la descomposición del PIB per cápita entre la proporción de población que trabaja y la productividad laboral </a:t>
                </a:r>
              </a:p>
              <a:p>
                <a:pPr lvl="2">
                  <a:spcBef>
                    <a:spcPts val="600"/>
                  </a:spcBef>
                  <a:spcAft>
                    <a:spcPts val="600"/>
                  </a:spcAft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s-ES" sz="1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ES" sz="1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𝑃𝐼𝐵</m:t>
                          </m:r>
                        </m:num>
                        <m:den>
                          <m:r>
                            <a:rPr lang="es-ES" sz="1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r>
                        <a:rPr lang="es-ES" sz="1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s-ES" sz="1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ES" sz="1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𝑃𝐼𝐵</m:t>
                          </m:r>
                        </m:num>
                        <m:den>
                          <m:r>
                            <a:rPr lang="es-ES" sz="1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den>
                      </m:f>
                      <m:r>
                        <a:rPr lang="es-ES" sz="1400" i="1">
                          <a:solidFill>
                            <a:prstClr val="black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es-ES" sz="1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s-ES" sz="1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𝐿</m:t>
                          </m:r>
                        </m:num>
                        <m:den>
                          <m:r>
                            <a:rPr lang="es-ES" sz="1400" i="1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</m:oMath>
                  </m:oMathPara>
                </a14:m>
                <a:endParaRPr lang="es-ES" sz="1400" dirty="0">
                  <a:latin typeface="Calibri" panose="020F0502020204030204" pitchFamily="34" charset="0"/>
                </a:endParaRPr>
              </a:p>
              <a:p>
                <a:pPr marL="285750" indent="-285750">
                  <a:spcBef>
                    <a:spcPts val="600"/>
                  </a:spcBef>
                  <a:spcAft>
                    <a:spcPts val="600"/>
                  </a:spcAft>
                  <a:buFont typeface="Wingdings" panose="05000000000000000000" pitchFamily="2" charset="2"/>
                  <a:buChar char="Ø"/>
                  <a:defRPr/>
                </a:pPr>
                <a:r>
                  <a:rPr lang="es-ES" sz="1400" dirty="0">
                    <a:latin typeface="Calibri" panose="020F0502020204030204" pitchFamily="34" charset="0"/>
                  </a:rPr>
                  <a:t>Teniendo en cuenta la endogeneidad de la variable envejecimiento en una regresión MCO, utilizamos como instrumento el envejecimiento predicho a partir del envejecimiento en t-10 en aquella CC.AA. y el envejecimiento experimentado en España en t</a:t>
                </a:r>
              </a:p>
              <a:p>
                <a:pPr lvl="1" algn="just">
                  <a:spcBef>
                    <a:spcPts val="600"/>
                  </a:spcBef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s-ES" sz="14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ln</m:t>
                      </m:r>
                      <m:d>
                        <m:dPr>
                          <m:ctrlPr>
                            <a:rPr lang="es-ES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s-ES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s-ES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s-ES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𝐴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s-ES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s-ES" sz="1400" i="1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𝑁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</m:sub>
                              </m:sSub>
                            </m:den>
                          </m:f>
                        </m:e>
                      </m:d>
                      <m:r>
                        <a:rPr lang="es-ES" sz="14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r>
                        <m:rPr>
                          <m:sty m:val="p"/>
                        </m:rPr>
                        <a:rPr lang="es-ES" sz="140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ln</m:t>
                      </m:r>
                      <m:d>
                        <m:dPr>
                          <m:ctrlPr>
                            <a:rPr lang="es-ES" sz="14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s-ES" sz="1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𝐴</m:t>
                                  </m:r>
                                </m:e>
                                <m:sub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−10</m:t>
                                  </m:r>
                                </m:sub>
                              </m:sSub>
                            </m:num>
                            <m:den>
                              <m:sSub>
                                <m:sSubPr>
                                  <m:ctrlP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𝑁</m:t>
                                  </m:r>
                                </m:e>
                                <m:sub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𝑐</m:t>
                                  </m:r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,</m:t>
                                  </m:r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s-ES" sz="1400" i="1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−10</m:t>
                                  </m:r>
                                </m:sub>
                              </m:sSub>
                            </m:den>
                          </m:f>
                        </m:e>
                      </m:d>
                    </m:oMath>
                  </m:oMathPara>
                </a14:m>
                <a:endParaRPr lang="es-ES" sz="1400" dirty="0">
                  <a:latin typeface="Calibri" panose="020F0502020204030204" pitchFamily="34" charset="0"/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7" name="CuadroTexto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18738" y="1993421"/>
                <a:ext cx="5764958" cy="4291559"/>
              </a:xfrm>
              <a:prstGeom prst="rect">
                <a:avLst/>
              </a:prstGeom>
              <a:blipFill>
                <a:blip r:embed="rId3"/>
                <a:stretch>
                  <a:fillRect l="-106"/>
                </a:stretch>
              </a:blipFill>
            </p:spPr>
            <p:txBody>
              <a:bodyPr/>
              <a:lstStyle/>
              <a:p>
                <a:r>
                  <a:rPr lang="es-E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CuadroTexto 5">
            <a:extLst>
              <a:ext uri="{FF2B5EF4-FFF2-40B4-BE49-F238E27FC236}">
                <a16:creationId xmlns:a16="http://schemas.microsoft.com/office/drawing/2014/main" id="{74E4CB25-F0DD-423B-A5BD-7A0565A45320}"/>
              </a:ext>
            </a:extLst>
          </p:cNvPr>
          <p:cNvSpPr txBox="1"/>
          <p:nvPr/>
        </p:nvSpPr>
        <p:spPr>
          <a:xfrm>
            <a:off x="487362" y="1188871"/>
            <a:ext cx="112172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14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Llorens Jimeno, E. y Mestres Domènech, J (2020), “El impacto del envejecimiento en el crecimiento económico de España: un enfoque regional”, Documento trabajo 01/20, CaixaBank Research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0FF74CF-BCDA-42D6-AAB0-2841963D9C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740" y="2026890"/>
            <a:ext cx="5373188" cy="3624057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8F05DEB9-52F5-483B-80E0-2B56D8508725}"/>
              </a:ext>
            </a:extLst>
          </p:cNvPr>
          <p:cNvSpPr txBox="1"/>
          <p:nvPr/>
        </p:nvSpPr>
        <p:spPr>
          <a:xfrm>
            <a:off x="600076" y="5906661"/>
            <a:ext cx="5373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Nota: </a:t>
            </a:r>
            <a:r>
              <a:rPr lang="es-ES" sz="12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Crecimientos en diez años del PIB per cápita y la ratio de envejecimiento.</a:t>
            </a:r>
            <a:endParaRPr lang="en-US" sz="12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8948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s-ES"/>
              <a:t>Periodo Históric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ES"/>
              <a:t>Previsiones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Simulación de impacto del envejecimiento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DA5297-3E08-4C9A-B238-7A781E48082A}" type="slidenum">
              <a:rPr kumimoji="0" lang="es-ES_tradnl" sz="800" b="0" i="0" u="none" strike="noStrike" kern="1200" cap="none" spc="0" normalizeH="0" baseline="0" noProof="0" smtClean="0">
                <a:ln>
                  <a:noFill/>
                </a:ln>
                <a:solidFill>
                  <a:srgbClr val="748D99"/>
                </a:solidFill>
                <a:effectLst/>
                <a:uLnTx/>
                <a:uFillTx/>
                <a:latin typeface="Calibri" pitchFamily="34" charset="0"/>
                <a:ea typeface="ＭＳ Ｐゴシック" pitchFamily="1" charset="-128"/>
                <a:cs typeface="+mn-cs"/>
              </a:rPr>
              <a:pPr marL="0" marR="0" lvl="0" indent="0" algn="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s-ES_tradnl" sz="800" b="0" i="0" u="none" strike="noStrike" kern="1200" cap="none" spc="0" normalizeH="0" baseline="0" noProof="0" dirty="0">
              <a:ln>
                <a:noFill/>
              </a:ln>
              <a:solidFill>
                <a:srgbClr val="748D99"/>
              </a:solidFill>
              <a:effectLst/>
              <a:uLnTx/>
              <a:uFillTx/>
              <a:latin typeface="Calibri" pitchFamily="34" charset="0"/>
              <a:ea typeface="ＭＳ Ｐゴシック" pitchFamily="1" charset="-128"/>
              <a:cs typeface="+mn-cs"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287782" y="5763717"/>
            <a:ext cx="57460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rPr>
              <a:t>Nota: 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rPr>
              <a:t>En ausencia del envejecimiento observado durante las décadas 1990-2000, 2000-2010 y 2010-2020, el crecimiento anual del PIB per cápita habría sido 0,1 p.p., 0,07 p.p. y 0,64 p.p. mayor que el observado.</a:t>
            </a:r>
          </a:p>
        </p:txBody>
      </p:sp>
      <p:sp>
        <p:nvSpPr>
          <p:cNvPr id="12" name="Rectángulo 11"/>
          <p:cNvSpPr/>
          <p:nvPr/>
        </p:nvSpPr>
        <p:spPr>
          <a:xfrm>
            <a:off x="6181826" y="5763717"/>
            <a:ext cx="57368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rPr>
              <a:t>Nota: </a:t>
            </a: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rPr>
              <a:t>En ausencia del envejecimiento previsto para las décadas 2020-2030, 2030-2040 y 2040-2050, el crecimiento anual del PIB per cápita sería 0,69 p.p., 0,58 p.p. y 0,02 p.p. mayor que el previsto.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782" y="1584117"/>
            <a:ext cx="5734118" cy="4179600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3876" y="1588958"/>
            <a:ext cx="5734800" cy="4174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66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>
            <a:extLst>
              <a:ext uri="{FF2B5EF4-FFF2-40B4-BE49-F238E27FC236}">
                <a16:creationId xmlns:a16="http://schemas.microsoft.com/office/drawing/2014/main" id="{6517BCB4-8806-401B-9421-3CA79C241082}"/>
              </a:ext>
            </a:extLst>
          </p:cNvPr>
          <p:cNvGrpSpPr/>
          <p:nvPr/>
        </p:nvGrpSpPr>
        <p:grpSpPr>
          <a:xfrm>
            <a:off x="1182342" y="863045"/>
            <a:ext cx="9028458" cy="5556413"/>
            <a:chOff x="2172942" y="1137900"/>
            <a:chExt cx="6648983" cy="5332913"/>
          </a:xfrm>
        </p:grpSpPr>
        <p:graphicFrame>
          <p:nvGraphicFramePr>
            <p:cNvPr id="8" name="Gráfico 7">
              <a:extLst>
                <a:ext uri="{FF2B5EF4-FFF2-40B4-BE49-F238E27FC236}">
                  <a16:creationId xmlns:a16="http://schemas.microsoft.com/office/drawing/2014/main" id="{503942C1-CDE1-4F40-B44E-4971F527EB9F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605390966"/>
                </p:ext>
              </p:extLst>
            </p:nvPr>
          </p:nvGraphicFramePr>
          <p:xfrm>
            <a:off x="2172942" y="1137900"/>
            <a:ext cx="6648983" cy="512631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3" name="Grupo 2">
              <a:extLst>
                <a:ext uri="{FF2B5EF4-FFF2-40B4-BE49-F238E27FC236}">
                  <a16:creationId xmlns:a16="http://schemas.microsoft.com/office/drawing/2014/main" id="{86A19792-B9A5-487C-A4AD-13359094AF36}"/>
                </a:ext>
              </a:extLst>
            </p:cNvPr>
            <p:cNvGrpSpPr/>
            <p:nvPr/>
          </p:nvGrpSpPr>
          <p:grpSpPr>
            <a:xfrm>
              <a:off x="2554567" y="1911543"/>
              <a:ext cx="6138277" cy="4559270"/>
              <a:chOff x="2554567" y="1911543"/>
              <a:chExt cx="6138277" cy="4559270"/>
            </a:xfrm>
          </p:grpSpPr>
          <p:sp>
            <p:nvSpPr>
              <p:cNvPr id="9" name="CuadroTexto 8">
                <a:extLst>
                  <a:ext uri="{FF2B5EF4-FFF2-40B4-BE49-F238E27FC236}">
                    <a16:creationId xmlns:a16="http://schemas.microsoft.com/office/drawing/2014/main" id="{19C9E50F-591A-4A99-BAE0-FBB86D415244}"/>
                  </a:ext>
                </a:extLst>
              </p:cNvPr>
              <p:cNvSpPr txBox="1"/>
              <p:nvPr/>
            </p:nvSpPr>
            <p:spPr>
              <a:xfrm>
                <a:off x="2600508" y="4596516"/>
                <a:ext cx="1058303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s-ES" sz="1050" u="none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</a:rPr>
                  <a:t>Jóvenes (16-29)</a:t>
                </a:r>
              </a:p>
            </p:txBody>
          </p:sp>
          <p:sp>
            <p:nvSpPr>
              <p:cNvPr id="10" name="CuadroTexto 9">
                <a:extLst>
                  <a:ext uri="{FF2B5EF4-FFF2-40B4-BE49-F238E27FC236}">
                    <a16:creationId xmlns:a16="http://schemas.microsoft.com/office/drawing/2014/main" id="{D32FD721-457C-49EA-B7C8-672FB5D43115}"/>
                  </a:ext>
                </a:extLst>
              </p:cNvPr>
              <p:cNvSpPr txBox="1"/>
              <p:nvPr/>
            </p:nvSpPr>
            <p:spPr>
              <a:xfrm>
                <a:off x="3963170" y="4596516"/>
                <a:ext cx="853119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s-ES" sz="1050" u="none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</a:rPr>
                  <a:t>Adultos 50+</a:t>
                </a:r>
              </a:p>
            </p:txBody>
          </p:sp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78524303-E0C9-46FF-9FBE-0E0309DE187F}"/>
                  </a:ext>
                </a:extLst>
              </p:cNvPr>
              <p:cNvSpPr txBox="1"/>
              <p:nvPr/>
            </p:nvSpPr>
            <p:spPr>
              <a:xfrm>
                <a:off x="5195994" y="4596516"/>
                <a:ext cx="853119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ca-ES" sz="1050" u="none" dirty="0" err="1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</a:rPr>
                  <a:t>Inmigrantes</a:t>
                </a:r>
                <a:endParaRPr lang="ca-ES" sz="1050" u="none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2" name="CuadroTexto 11">
                <a:extLst>
                  <a:ext uri="{FF2B5EF4-FFF2-40B4-BE49-F238E27FC236}">
                    <a16:creationId xmlns:a16="http://schemas.microsoft.com/office/drawing/2014/main" id="{FD8EAB17-0F85-4538-8A93-D4615781131E}"/>
                  </a:ext>
                </a:extLst>
              </p:cNvPr>
              <p:cNvSpPr txBox="1"/>
              <p:nvPr/>
            </p:nvSpPr>
            <p:spPr>
              <a:xfrm>
                <a:off x="6572052" y="4596516"/>
                <a:ext cx="644728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s-ES" sz="1050" u="none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</a:rPr>
                  <a:t>Mujeres</a:t>
                </a:r>
              </a:p>
            </p:txBody>
          </p:sp>
          <p:sp>
            <p:nvSpPr>
              <p:cNvPr id="13" name="CuadroTexto 12">
                <a:extLst>
                  <a:ext uri="{FF2B5EF4-FFF2-40B4-BE49-F238E27FC236}">
                    <a16:creationId xmlns:a16="http://schemas.microsoft.com/office/drawing/2014/main" id="{F3896F9F-3036-4F34-8ED8-D0BA79655447}"/>
                  </a:ext>
                </a:extLst>
              </p:cNvPr>
              <p:cNvSpPr txBox="1"/>
              <p:nvPr/>
            </p:nvSpPr>
            <p:spPr>
              <a:xfrm>
                <a:off x="7774622" y="4596516"/>
                <a:ext cx="692818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s-ES" sz="1050" u="none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</a:rPr>
                  <a:t>Hombres</a:t>
                </a:r>
              </a:p>
            </p:txBody>
          </p:sp>
          <p:grpSp>
            <p:nvGrpSpPr>
              <p:cNvPr id="14" name="Grupo 13">
                <a:extLst>
                  <a:ext uri="{FF2B5EF4-FFF2-40B4-BE49-F238E27FC236}">
                    <a16:creationId xmlns:a16="http://schemas.microsoft.com/office/drawing/2014/main" id="{4542D0A6-670A-426E-8B1F-FEB464C3C992}"/>
                  </a:ext>
                </a:extLst>
              </p:cNvPr>
              <p:cNvGrpSpPr/>
              <p:nvPr/>
            </p:nvGrpSpPr>
            <p:grpSpPr>
              <a:xfrm>
                <a:off x="4088985" y="5029091"/>
                <a:ext cx="559165" cy="559163"/>
                <a:chOff x="1128744" y="6715245"/>
                <a:chExt cx="681005" cy="681005"/>
              </a:xfrm>
            </p:grpSpPr>
            <p:sp>
              <p:nvSpPr>
                <p:cNvPr id="47" name="Elipse 46">
                  <a:extLst>
                    <a:ext uri="{FF2B5EF4-FFF2-40B4-BE49-F238E27FC236}">
                      <a16:creationId xmlns:a16="http://schemas.microsoft.com/office/drawing/2014/main" id="{BB9CC63D-FCA5-496B-8853-79B36569DBAE}"/>
                    </a:ext>
                  </a:extLst>
                </p:cNvPr>
                <p:cNvSpPr/>
                <p:nvPr/>
              </p:nvSpPr>
              <p:spPr>
                <a:xfrm>
                  <a:off x="1128744" y="6715245"/>
                  <a:ext cx="681005" cy="681005"/>
                </a:xfrm>
                <a:prstGeom prst="ellipse">
                  <a:avLst/>
                </a:prstGeom>
                <a:solidFill>
                  <a:srgbClr val="A6DCF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3303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" sz="1662" b="0" u="none" kern="0">
                    <a:solidFill>
                      <a:prstClr val="white"/>
                    </a:solidFill>
                    <a:latin typeface="Calibri"/>
                    <a:ea typeface="+mn-ea"/>
                  </a:endParaRPr>
                </a:p>
              </p:txBody>
            </p:sp>
            <p:pic>
              <p:nvPicPr>
                <p:cNvPr id="49" name="Imagen 48">
                  <a:extLst>
                    <a:ext uri="{FF2B5EF4-FFF2-40B4-BE49-F238E27FC236}">
                      <a16:creationId xmlns:a16="http://schemas.microsoft.com/office/drawing/2014/main" id="{379CE4AE-697B-4A2D-8E16-41DD7D6BB0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28612" r="62500"/>
                <a:stretch/>
              </p:blipFill>
              <p:spPr>
                <a:xfrm>
                  <a:off x="1281634" y="6781800"/>
                  <a:ext cx="433829" cy="476248"/>
                </a:xfrm>
                <a:custGeom>
                  <a:avLst/>
                  <a:gdLst>
                    <a:gd name="connsiteX0" fmla="*/ 0 w 2143125"/>
                    <a:gd name="connsiteY0" fmla="*/ 0 h 2352675"/>
                    <a:gd name="connsiteX1" fmla="*/ 2143125 w 2143125"/>
                    <a:gd name="connsiteY1" fmla="*/ 0 h 2352675"/>
                    <a:gd name="connsiteX2" fmla="*/ 2143125 w 2143125"/>
                    <a:gd name="connsiteY2" fmla="*/ 1622351 h 2352675"/>
                    <a:gd name="connsiteX3" fmla="*/ 2101501 w 2143125"/>
                    <a:gd name="connsiteY3" fmla="*/ 1593577 h 2352675"/>
                    <a:gd name="connsiteX4" fmla="*/ 1905000 w 2143125"/>
                    <a:gd name="connsiteY4" fmla="*/ 1543051 h 2352675"/>
                    <a:gd name="connsiteX5" fmla="*/ 1400175 w 2143125"/>
                    <a:gd name="connsiteY5" fmla="*/ 2185989 h 2352675"/>
                    <a:gd name="connsiteX6" fmla="*/ 1410431 w 2143125"/>
                    <a:gd name="connsiteY6" fmla="*/ 2315564 h 2352675"/>
                    <a:gd name="connsiteX7" fmla="*/ 1419477 w 2143125"/>
                    <a:gd name="connsiteY7" fmla="*/ 2352675 h 2352675"/>
                    <a:gd name="connsiteX8" fmla="*/ 0 w 2143125"/>
                    <a:gd name="connsiteY8" fmla="*/ 2352675 h 2352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43125" h="2352675">
                      <a:moveTo>
                        <a:pt x="0" y="0"/>
                      </a:moveTo>
                      <a:lnTo>
                        <a:pt x="2143125" y="0"/>
                      </a:lnTo>
                      <a:lnTo>
                        <a:pt x="2143125" y="1622351"/>
                      </a:lnTo>
                      <a:lnTo>
                        <a:pt x="2101501" y="1593577"/>
                      </a:lnTo>
                      <a:cubicBezTo>
                        <a:pt x="2041104" y="1561042"/>
                        <a:pt x="1974702" y="1543051"/>
                        <a:pt x="1905000" y="1543051"/>
                      </a:cubicBezTo>
                      <a:cubicBezTo>
                        <a:pt x="1626193" y="1543051"/>
                        <a:pt x="1400175" y="1830904"/>
                        <a:pt x="1400175" y="2185989"/>
                      </a:cubicBezTo>
                      <a:cubicBezTo>
                        <a:pt x="1400175" y="2230375"/>
                        <a:pt x="1403707" y="2273710"/>
                        <a:pt x="1410431" y="2315564"/>
                      </a:cubicBezTo>
                      <a:lnTo>
                        <a:pt x="1419477" y="2352675"/>
                      </a:lnTo>
                      <a:lnTo>
                        <a:pt x="0" y="2352675"/>
                      </a:lnTo>
                      <a:close/>
                    </a:path>
                  </a:pathLst>
                </a:custGeom>
              </p:spPr>
            </p:pic>
          </p:grpSp>
          <p:grpSp>
            <p:nvGrpSpPr>
              <p:cNvPr id="15" name="Grupo 14">
                <a:extLst>
                  <a:ext uri="{FF2B5EF4-FFF2-40B4-BE49-F238E27FC236}">
                    <a16:creationId xmlns:a16="http://schemas.microsoft.com/office/drawing/2014/main" id="{1B7F3B95-9192-47DA-A694-6A36CA45D59B}"/>
                  </a:ext>
                </a:extLst>
              </p:cNvPr>
              <p:cNvGrpSpPr/>
              <p:nvPr/>
            </p:nvGrpSpPr>
            <p:grpSpPr>
              <a:xfrm>
                <a:off x="2818890" y="5029091"/>
                <a:ext cx="559165" cy="559163"/>
                <a:chOff x="2041351" y="6715245"/>
                <a:chExt cx="681005" cy="681005"/>
              </a:xfrm>
            </p:grpSpPr>
            <p:sp>
              <p:nvSpPr>
                <p:cNvPr id="45" name="Elipse 44">
                  <a:extLst>
                    <a:ext uri="{FF2B5EF4-FFF2-40B4-BE49-F238E27FC236}">
                      <a16:creationId xmlns:a16="http://schemas.microsoft.com/office/drawing/2014/main" id="{5AACD5E6-2CD4-41FB-94BB-695C89AF8551}"/>
                    </a:ext>
                  </a:extLst>
                </p:cNvPr>
                <p:cNvSpPr/>
                <p:nvPr/>
              </p:nvSpPr>
              <p:spPr>
                <a:xfrm>
                  <a:off x="2041351" y="6715245"/>
                  <a:ext cx="681005" cy="681005"/>
                </a:xfrm>
                <a:prstGeom prst="ellipse">
                  <a:avLst/>
                </a:prstGeom>
                <a:solidFill>
                  <a:srgbClr val="A6DCF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3303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" sz="1662" b="0" u="none" kern="0">
                    <a:solidFill>
                      <a:prstClr val="white"/>
                    </a:solidFill>
                    <a:latin typeface="Calibri"/>
                    <a:ea typeface="+mn-ea"/>
                  </a:endParaRPr>
                </a:p>
              </p:txBody>
            </p:sp>
            <p:pic>
              <p:nvPicPr>
                <p:cNvPr id="46" name="Imagen 45">
                  <a:extLst>
                    <a:ext uri="{FF2B5EF4-FFF2-40B4-BE49-F238E27FC236}">
                      <a16:creationId xmlns:a16="http://schemas.microsoft.com/office/drawing/2014/main" id="{7E38F126-D4BE-4885-B09B-5BBCBF45B2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45010" y="6800850"/>
                  <a:ext cx="476250" cy="476250"/>
                </a:xfrm>
                <a:prstGeom prst="rect">
                  <a:avLst/>
                </a:prstGeom>
              </p:spPr>
            </p:pic>
          </p:grpSp>
          <p:grpSp>
            <p:nvGrpSpPr>
              <p:cNvPr id="16" name="Grupo 15">
                <a:extLst>
                  <a:ext uri="{FF2B5EF4-FFF2-40B4-BE49-F238E27FC236}">
                    <a16:creationId xmlns:a16="http://schemas.microsoft.com/office/drawing/2014/main" id="{F9FB0EC4-A2D6-456B-B2D7-0A0E22E53A6A}"/>
                  </a:ext>
                </a:extLst>
              </p:cNvPr>
              <p:cNvGrpSpPr/>
              <p:nvPr/>
            </p:nvGrpSpPr>
            <p:grpSpPr>
              <a:xfrm>
                <a:off x="5330994" y="5029091"/>
                <a:ext cx="559165" cy="559163"/>
                <a:chOff x="2905447" y="6715245"/>
                <a:chExt cx="681005" cy="681005"/>
              </a:xfrm>
            </p:grpSpPr>
            <p:sp>
              <p:nvSpPr>
                <p:cNvPr id="43" name="Elipse 42">
                  <a:extLst>
                    <a:ext uri="{FF2B5EF4-FFF2-40B4-BE49-F238E27FC236}">
                      <a16:creationId xmlns:a16="http://schemas.microsoft.com/office/drawing/2014/main" id="{E653CF9D-E6A5-4963-88D7-AD27E89FF785}"/>
                    </a:ext>
                  </a:extLst>
                </p:cNvPr>
                <p:cNvSpPr/>
                <p:nvPr/>
              </p:nvSpPr>
              <p:spPr>
                <a:xfrm>
                  <a:off x="2905447" y="6715245"/>
                  <a:ext cx="681005" cy="681005"/>
                </a:xfrm>
                <a:prstGeom prst="ellipse">
                  <a:avLst/>
                </a:prstGeom>
                <a:solidFill>
                  <a:srgbClr val="A6DCF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3303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" sz="1662" b="0" u="none" kern="0">
                    <a:solidFill>
                      <a:prstClr val="white"/>
                    </a:solidFill>
                    <a:latin typeface="Calibri"/>
                    <a:ea typeface="+mn-ea"/>
                  </a:endParaRPr>
                </a:p>
              </p:txBody>
            </p:sp>
            <p:pic>
              <p:nvPicPr>
                <p:cNvPr id="44" name="Imagen 43">
                  <a:extLst>
                    <a:ext uri="{FF2B5EF4-FFF2-40B4-BE49-F238E27FC236}">
                      <a16:creationId xmlns:a16="http://schemas.microsoft.com/office/drawing/2014/main" id="{D2B64568-208A-43F1-B5C3-72353743EB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3025670" y="6836175"/>
                  <a:ext cx="431399" cy="431400"/>
                </a:xfrm>
                <a:prstGeom prst="rect">
                  <a:avLst/>
                </a:prstGeom>
              </p:spPr>
            </p:pic>
          </p:grpSp>
          <p:grpSp>
            <p:nvGrpSpPr>
              <p:cNvPr id="17" name="Grupo 16">
                <a:extLst>
                  <a:ext uri="{FF2B5EF4-FFF2-40B4-BE49-F238E27FC236}">
                    <a16:creationId xmlns:a16="http://schemas.microsoft.com/office/drawing/2014/main" id="{75F0695D-9AA6-441E-817C-194F5F1B2FF4}"/>
                  </a:ext>
                </a:extLst>
              </p:cNvPr>
              <p:cNvGrpSpPr/>
              <p:nvPr/>
            </p:nvGrpSpPr>
            <p:grpSpPr>
              <a:xfrm>
                <a:off x="6604603" y="5029091"/>
                <a:ext cx="559165" cy="559163"/>
                <a:chOff x="3901008" y="6715245"/>
                <a:chExt cx="681005" cy="681005"/>
              </a:xfrm>
            </p:grpSpPr>
            <p:sp>
              <p:nvSpPr>
                <p:cNvPr id="41" name="Elipse 40">
                  <a:extLst>
                    <a:ext uri="{FF2B5EF4-FFF2-40B4-BE49-F238E27FC236}">
                      <a16:creationId xmlns:a16="http://schemas.microsoft.com/office/drawing/2014/main" id="{A1449554-9F68-4E07-AE48-1EF2A0D96971}"/>
                    </a:ext>
                  </a:extLst>
                </p:cNvPr>
                <p:cNvSpPr/>
                <p:nvPr/>
              </p:nvSpPr>
              <p:spPr>
                <a:xfrm>
                  <a:off x="3901008" y="6715245"/>
                  <a:ext cx="681005" cy="681005"/>
                </a:xfrm>
                <a:prstGeom prst="ellipse">
                  <a:avLst/>
                </a:prstGeom>
                <a:solidFill>
                  <a:srgbClr val="A6DCF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3303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" sz="1662" b="0" u="none" kern="0">
                    <a:solidFill>
                      <a:prstClr val="white"/>
                    </a:solidFill>
                    <a:latin typeface="Calibri"/>
                    <a:ea typeface="+mn-ea"/>
                  </a:endParaRPr>
                </a:p>
              </p:txBody>
            </p:sp>
            <p:pic>
              <p:nvPicPr>
                <p:cNvPr id="42" name="Imagen 41">
                  <a:extLst>
                    <a:ext uri="{FF2B5EF4-FFF2-40B4-BE49-F238E27FC236}">
                      <a16:creationId xmlns:a16="http://schemas.microsoft.com/office/drawing/2014/main" id="{5D35D992-4173-4B8B-9825-DB55FEF2376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1070"/>
                <a:stretch/>
              </p:blipFill>
              <p:spPr>
                <a:xfrm rot="10800000">
                  <a:off x="4111315" y="6832911"/>
                  <a:ext cx="270173" cy="468000"/>
                </a:xfrm>
                <a:prstGeom prst="rect">
                  <a:avLst/>
                </a:prstGeom>
              </p:spPr>
            </p:pic>
          </p:grpSp>
          <p:grpSp>
            <p:nvGrpSpPr>
              <p:cNvPr id="18" name="Grupo 17">
                <a:extLst>
                  <a:ext uri="{FF2B5EF4-FFF2-40B4-BE49-F238E27FC236}">
                    <a16:creationId xmlns:a16="http://schemas.microsoft.com/office/drawing/2014/main" id="{30F29523-B950-4C02-A8DE-D7C85DA534CA}"/>
                  </a:ext>
                </a:extLst>
              </p:cNvPr>
              <p:cNvGrpSpPr/>
              <p:nvPr/>
            </p:nvGrpSpPr>
            <p:grpSpPr>
              <a:xfrm>
                <a:off x="7886221" y="5029091"/>
                <a:ext cx="559165" cy="559163"/>
                <a:chOff x="4837112" y="6715245"/>
                <a:chExt cx="681005" cy="681005"/>
              </a:xfrm>
            </p:grpSpPr>
            <p:sp>
              <p:nvSpPr>
                <p:cNvPr id="39" name="Elipse 38">
                  <a:extLst>
                    <a:ext uri="{FF2B5EF4-FFF2-40B4-BE49-F238E27FC236}">
                      <a16:creationId xmlns:a16="http://schemas.microsoft.com/office/drawing/2014/main" id="{DC425773-8ED6-405C-99F2-0A4FF67C20FC}"/>
                    </a:ext>
                  </a:extLst>
                </p:cNvPr>
                <p:cNvSpPr/>
                <p:nvPr/>
              </p:nvSpPr>
              <p:spPr>
                <a:xfrm>
                  <a:off x="4837112" y="6715245"/>
                  <a:ext cx="681005" cy="681005"/>
                </a:xfrm>
                <a:prstGeom prst="ellipse">
                  <a:avLst/>
                </a:prstGeom>
                <a:solidFill>
                  <a:srgbClr val="A6DCF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3303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s-ES" sz="1662" b="0" u="none" kern="0">
                    <a:solidFill>
                      <a:prstClr val="white"/>
                    </a:solidFill>
                    <a:latin typeface="Calibri"/>
                    <a:ea typeface="+mn-ea"/>
                  </a:endParaRPr>
                </a:p>
              </p:txBody>
            </p:sp>
            <p:pic>
              <p:nvPicPr>
                <p:cNvPr id="40" name="Imagen 39">
                  <a:extLst>
                    <a:ext uri="{FF2B5EF4-FFF2-40B4-BE49-F238E27FC236}">
                      <a16:creationId xmlns:a16="http://schemas.microsoft.com/office/drawing/2014/main" id="{0CF03AE4-1119-4392-86E5-23DC440A7C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50459"/>
                <a:stretch/>
              </p:blipFill>
              <p:spPr>
                <a:xfrm rot="12600000">
                  <a:off x="5046583" y="6815734"/>
                  <a:ext cx="273540" cy="468000"/>
                </a:xfrm>
                <a:prstGeom prst="rect">
                  <a:avLst/>
                </a:prstGeom>
              </p:spPr>
            </p:pic>
          </p:grpSp>
          <p:sp>
            <p:nvSpPr>
              <p:cNvPr id="21" name="Rectángulo 20">
                <a:extLst>
                  <a:ext uri="{FF2B5EF4-FFF2-40B4-BE49-F238E27FC236}">
                    <a16:creationId xmlns:a16="http://schemas.microsoft.com/office/drawing/2014/main" id="{6750325D-F49E-456C-9460-E0C2409B95AA}"/>
                  </a:ext>
                </a:extLst>
              </p:cNvPr>
              <p:cNvSpPr/>
              <p:nvPr/>
            </p:nvSpPr>
            <p:spPr>
              <a:xfrm>
                <a:off x="2554567" y="1911543"/>
                <a:ext cx="1156040" cy="3839692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31"/>
              </a:p>
            </p:txBody>
          </p:sp>
          <p:sp>
            <p:nvSpPr>
              <p:cNvPr id="22" name="Rectángulo 21">
                <a:extLst>
                  <a:ext uri="{FF2B5EF4-FFF2-40B4-BE49-F238E27FC236}">
                    <a16:creationId xmlns:a16="http://schemas.microsoft.com/office/drawing/2014/main" id="{089AF481-EEF2-42D3-AA66-E97CB7D918EA}"/>
                  </a:ext>
                </a:extLst>
              </p:cNvPr>
              <p:cNvSpPr/>
              <p:nvPr/>
            </p:nvSpPr>
            <p:spPr>
              <a:xfrm>
                <a:off x="3820074" y="1911543"/>
                <a:ext cx="1156040" cy="3839692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31"/>
              </a:p>
            </p:txBody>
          </p:sp>
          <p:sp>
            <p:nvSpPr>
              <p:cNvPr id="23" name="Rectángulo 22">
                <a:extLst>
                  <a:ext uri="{FF2B5EF4-FFF2-40B4-BE49-F238E27FC236}">
                    <a16:creationId xmlns:a16="http://schemas.microsoft.com/office/drawing/2014/main" id="{F5B95D88-2231-4B79-A266-006795997D4B}"/>
                  </a:ext>
                </a:extLst>
              </p:cNvPr>
              <p:cNvSpPr/>
              <p:nvPr/>
            </p:nvSpPr>
            <p:spPr>
              <a:xfrm>
                <a:off x="5060228" y="1911543"/>
                <a:ext cx="1156040" cy="3839692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31"/>
              </a:p>
            </p:txBody>
          </p:sp>
          <p:sp>
            <p:nvSpPr>
              <p:cNvPr id="24" name="Rectángulo 23">
                <a:extLst>
                  <a:ext uri="{FF2B5EF4-FFF2-40B4-BE49-F238E27FC236}">
                    <a16:creationId xmlns:a16="http://schemas.microsoft.com/office/drawing/2014/main" id="{EBE0190A-0526-4052-B86D-448D516304BB}"/>
                  </a:ext>
                </a:extLst>
              </p:cNvPr>
              <p:cNvSpPr/>
              <p:nvPr/>
            </p:nvSpPr>
            <p:spPr>
              <a:xfrm>
                <a:off x="6293962" y="1911543"/>
                <a:ext cx="1156040" cy="3839692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31"/>
              </a:p>
            </p:txBody>
          </p:sp>
          <p:sp>
            <p:nvSpPr>
              <p:cNvPr id="25" name="Rectángulo 24">
                <a:extLst>
                  <a:ext uri="{FF2B5EF4-FFF2-40B4-BE49-F238E27FC236}">
                    <a16:creationId xmlns:a16="http://schemas.microsoft.com/office/drawing/2014/main" id="{301ACA39-D661-415D-A475-ED885FF00A25}"/>
                  </a:ext>
                </a:extLst>
              </p:cNvPr>
              <p:cNvSpPr/>
              <p:nvPr/>
            </p:nvSpPr>
            <p:spPr>
              <a:xfrm>
                <a:off x="7536804" y="1911543"/>
                <a:ext cx="1156040" cy="3839692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31"/>
              </a:p>
            </p:txBody>
          </p:sp>
          <p:sp>
            <p:nvSpPr>
              <p:cNvPr id="26" name="Rectángulo 25">
                <a:extLst>
                  <a:ext uri="{FF2B5EF4-FFF2-40B4-BE49-F238E27FC236}">
                    <a16:creationId xmlns:a16="http://schemas.microsoft.com/office/drawing/2014/main" id="{63B94B48-120D-455D-BF55-47FC7F1D5664}"/>
                  </a:ext>
                </a:extLst>
              </p:cNvPr>
              <p:cNvSpPr/>
              <p:nvPr/>
            </p:nvSpPr>
            <p:spPr>
              <a:xfrm>
                <a:off x="2554569" y="5810220"/>
                <a:ext cx="3067046" cy="660593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31" u="none"/>
              </a:p>
            </p:txBody>
          </p:sp>
          <p:sp>
            <p:nvSpPr>
              <p:cNvPr id="27" name="CuadroTexto 26">
                <a:extLst>
                  <a:ext uri="{FF2B5EF4-FFF2-40B4-BE49-F238E27FC236}">
                    <a16:creationId xmlns:a16="http://schemas.microsoft.com/office/drawing/2014/main" id="{0EDC504E-072A-46AB-B697-04E455B884B7}"/>
                  </a:ext>
                </a:extLst>
              </p:cNvPr>
              <p:cNvSpPr txBox="1"/>
              <p:nvPr/>
            </p:nvSpPr>
            <p:spPr>
              <a:xfrm>
                <a:off x="3162318" y="5908975"/>
                <a:ext cx="1800382" cy="3906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969" u="none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 pitchFamily="34" charset="0"/>
                  </a:rPr>
                  <a:t>Antes de las transferencias públicas</a:t>
                </a:r>
              </a:p>
            </p:txBody>
          </p:sp>
          <p:sp>
            <p:nvSpPr>
              <p:cNvPr id="28" name="Abrir llave 27">
                <a:extLst>
                  <a:ext uri="{FF2B5EF4-FFF2-40B4-BE49-F238E27FC236}">
                    <a16:creationId xmlns:a16="http://schemas.microsoft.com/office/drawing/2014/main" id="{7103BFC5-CFE1-4D92-9AAA-0677402C3500}"/>
                  </a:ext>
                </a:extLst>
              </p:cNvPr>
              <p:cNvSpPr/>
              <p:nvPr/>
            </p:nvSpPr>
            <p:spPr>
              <a:xfrm>
                <a:off x="4768973" y="5930815"/>
                <a:ext cx="79881" cy="439342"/>
              </a:xfrm>
              <a:prstGeom prst="leftBrace">
                <a:avLst>
                  <a:gd name="adj1" fmla="val 64701"/>
                  <a:gd name="adj2" fmla="val 50000"/>
                </a:avLst>
              </a:prstGeom>
              <a:ln w="63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831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Rectángulo 28">
                <a:extLst>
                  <a:ext uri="{FF2B5EF4-FFF2-40B4-BE49-F238E27FC236}">
                    <a16:creationId xmlns:a16="http://schemas.microsoft.com/office/drawing/2014/main" id="{50C6ADAD-21C1-4DC0-B391-FCE9D2EF7486}"/>
                  </a:ext>
                </a:extLst>
              </p:cNvPr>
              <p:cNvSpPr/>
              <p:nvPr/>
            </p:nvSpPr>
            <p:spPr>
              <a:xfrm>
                <a:off x="4902620" y="5971798"/>
                <a:ext cx="119821" cy="119821"/>
              </a:xfrm>
              <a:prstGeom prst="rect">
                <a:avLst/>
              </a:prstGeom>
              <a:solidFill>
                <a:srgbClr val="E2E2E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31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Rectángulo 29">
                <a:extLst>
                  <a:ext uri="{FF2B5EF4-FFF2-40B4-BE49-F238E27FC236}">
                    <a16:creationId xmlns:a16="http://schemas.microsoft.com/office/drawing/2014/main" id="{AA293619-0FC5-40FE-B7C9-598E1BB94652}"/>
                  </a:ext>
                </a:extLst>
              </p:cNvPr>
              <p:cNvSpPr/>
              <p:nvPr/>
            </p:nvSpPr>
            <p:spPr>
              <a:xfrm>
                <a:off x="4902620" y="6202153"/>
                <a:ext cx="119821" cy="119821"/>
              </a:xfrm>
              <a:prstGeom prst="rect">
                <a:avLst/>
              </a:prstGeom>
              <a:solidFill>
                <a:srgbClr val="B7DE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31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CuadroTexto 30">
                <a:extLst>
                  <a:ext uri="{FF2B5EF4-FFF2-40B4-BE49-F238E27FC236}">
                    <a16:creationId xmlns:a16="http://schemas.microsoft.com/office/drawing/2014/main" id="{EADA217D-7018-4507-90E1-30F53C6B35E3}"/>
                  </a:ext>
                </a:extLst>
              </p:cNvPr>
              <p:cNvSpPr txBox="1"/>
              <p:nvPr/>
            </p:nvSpPr>
            <p:spPr>
              <a:xfrm>
                <a:off x="4989583" y="5929255"/>
                <a:ext cx="553357" cy="2042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" sz="727" u="none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 pitchFamily="34" charset="0"/>
                  </a:rPr>
                  <a:t>ABR 2020</a:t>
                </a:r>
              </a:p>
            </p:txBody>
          </p:sp>
          <p:sp>
            <p:nvSpPr>
              <p:cNvPr id="32" name="CuadroTexto 31">
                <a:extLst>
                  <a:ext uri="{FF2B5EF4-FFF2-40B4-BE49-F238E27FC236}">
                    <a16:creationId xmlns:a16="http://schemas.microsoft.com/office/drawing/2014/main" id="{2E27E498-C40B-42F5-A558-47BF98A55622}"/>
                  </a:ext>
                </a:extLst>
              </p:cNvPr>
              <p:cNvSpPr txBox="1"/>
              <p:nvPr/>
            </p:nvSpPr>
            <p:spPr>
              <a:xfrm>
                <a:off x="4998399" y="6165934"/>
                <a:ext cx="553357" cy="2042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" sz="727" u="none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 pitchFamily="34" charset="0"/>
                  </a:rPr>
                  <a:t>ABR 2021</a:t>
                </a:r>
              </a:p>
            </p:txBody>
          </p:sp>
          <p:sp>
            <p:nvSpPr>
              <p:cNvPr id="34" name="Abrir llave 33">
                <a:extLst>
                  <a:ext uri="{FF2B5EF4-FFF2-40B4-BE49-F238E27FC236}">
                    <a16:creationId xmlns:a16="http://schemas.microsoft.com/office/drawing/2014/main" id="{BAE83903-8CED-4095-ABFA-7F429B13AC98}"/>
                  </a:ext>
                </a:extLst>
              </p:cNvPr>
              <p:cNvSpPr/>
              <p:nvPr/>
            </p:nvSpPr>
            <p:spPr>
              <a:xfrm>
                <a:off x="7319592" y="5930815"/>
                <a:ext cx="79881" cy="439342"/>
              </a:xfrm>
              <a:prstGeom prst="leftBrace">
                <a:avLst>
                  <a:gd name="adj1" fmla="val 64701"/>
                  <a:gd name="adj2" fmla="val 50000"/>
                </a:avLst>
              </a:prstGeom>
              <a:ln w="63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831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CuadroTexto 34">
                <a:extLst>
                  <a:ext uri="{FF2B5EF4-FFF2-40B4-BE49-F238E27FC236}">
                    <a16:creationId xmlns:a16="http://schemas.microsoft.com/office/drawing/2014/main" id="{DEA87659-E06E-40A8-9128-C8B4DBB0B956}"/>
                  </a:ext>
                </a:extLst>
              </p:cNvPr>
              <p:cNvSpPr txBox="1"/>
              <p:nvPr/>
            </p:nvSpPr>
            <p:spPr>
              <a:xfrm>
                <a:off x="7587358" y="5929254"/>
                <a:ext cx="553357" cy="2042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" sz="727" u="none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 pitchFamily="34" charset="0"/>
                  </a:rPr>
                  <a:t>ABR 2020</a:t>
                </a:r>
              </a:p>
            </p:txBody>
          </p:sp>
          <p:sp>
            <p:nvSpPr>
              <p:cNvPr id="36" name="CuadroTexto 35">
                <a:extLst>
                  <a:ext uri="{FF2B5EF4-FFF2-40B4-BE49-F238E27FC236}">
                    <a16:creationId xmlns:a16="http://schemas.microsoft.com/office/drawing/2014/main" id="{66B99C07-AF1F-4B74-8F59-4E35EF59BC06}"/>
                  </a:ext>
                </a:extLst>
              </p:cNvPr>
              <p:cNvSpPr txBox="1"/>
              <p:nvPr/>
            </p:nvSpPr>
            <p:spPr>
              <a:xfrm>
                <a:off x="7599420" y="6160125"/>
                <a:ext cx="553357" cy="20422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" sz="727" u="none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Calibri" panose="020F0502020204030204" pitchFamily="34" charset="0"/>
                  </a:rPr>
                  <a:t>ABR 2021</a:t>
                </a:r>
              </a:p>
            </p:txBody>
          </p:sp>
          <p:sp>
            <p:nvSpPr>
              <p:cNvPr id="37" name="Elipse 36">
                <a:extLst>
                  <a:ext uri="{FF2B5EF4-FFF2-40B4-BE49-F238E27FC236}">
                    <a16:creationId xmlns:a16="http://schemas.microsoft.com/office/drawing/2014/main" id="{DE1969AB-FB1F-49F2-B23D-AA64731ADC2F}"/>
                  </a:ext>
                </a:extLst>
              </p:cNvPr>
              <p:cNvSpPr/>
              <p:nvPr/>
            </p:nvSpPr>
            <p:spPr>
              <a:xfrm>
                <a:off x="7442275" y="5964142"/>
                <a:ext cx="134450" cy="134450"/>
              </a:xfrm>
              <a:prstGeom prst="ellipse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31">
                  <a:solidFill>
                    <a:prstClr val="white"/>
                  </a:solidFill>
                </a:endParaRPr>
              </a:p>
            </p:txBody>
          </p:sp>
          <p:sp>
            <p:nvSpPr>
              <p:cNvPr id="38" name="Elipse 37">
                <a:extLst>
                  <a:ext uri="{FF2B5EF4-FFF2-40B4-BE49-F238E27FC236}">
                    <a16:creationId xmlns:a16="http://schemas.microsoft.com/office/drawing/2014/main" id="{63E06F3E-1C45-4F11-B718-C8B146267B4D}"/>
                  </a:ext>
                </a:extLst>
              </p:cNvPr>
              <p:cNvSpPr/>
              <p:nvPr/>
            </p:nvSpPr>
            <p:spPr>
              <a:xfrm>
                <a:off x="7442277" y="6191800"/>
                <a:ext cx="134450" cy="134450"/>
              </a:xfrm>
              <a:prstGeom prst="ellipse">
                <a:avLst/>
              </a:prstGeom>
              <a:solidFill>
                <a:srgbClr val="009AD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831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52" name="CuadroTexto 51">
            <a:extLst>
              <a:ext uri="{FF2B5EF4-FFF2-40B4-BE49-F238E27FC236}">
                <a16:creationId xmlns:a16="http://schemas.microsoft.com/office/drawing/2014/main" id="{5DD40E1E-8CF4-4FF4-BBC9-87A12630311B}"/>
              </a:ext>
            </a:extLst>
          </p:cNvPr>
          <p:cNvSpPr txBox="1"/>
          <p:nvPr/>
        </p:nvSpPr>
        <p:spPr>
          <a:xfrm>
            <a:off x="1086547" y="1177882"/>
            <a:ext cx="111054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200" b="0" u="none" dirty="0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Cambio con </a:t>
            </a:r>
            <a:r>
              <a:rPr lang="en-US" sz="1200" b="0" u="none" dirty="0" err="1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respecto</a:t>
            </a:r>
            <a:r>
              <a:rPr lang="en-US" sz="1200" b="0" u="none" dirty="0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 al </a:t>
            </a:r>
            <a:r>
              <a:rPr lang="en-US" sz="1200" b="0" u="none" dirty="0" err="1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nivel</a:t>
            </a:r>
            <a:r>
              <a:rPr lang="en-US" sz="1200" b="0" u="none" dirty="0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 de </a:t>
            </a:r>
            <a:r>
              <a:rPr lang="en-US" sz="1200" b="0" u="none" dirty="0" err="1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Febrero</a:t>
            </a:r>
            <a:r>
              <a:rPr lang="en-US" sz="1200" b="0" u="none" dirty="0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 2020 (</a:t>
            </a:r>
            <a:r>
              <a:rPr lang="en-US" sz="1200" b="0" u="none" dirty="0" err="1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corregido</a:t>
            </a:r>
            <a:r>
              <a:rPr lang="en-US" sz="1200" b="0" u="none" dirty="0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 por la </a:t>
            </a:r>
            <a:r>
              <a:rPr lang="en-US" sz="1200" b="0" u="none" dirty="0" err="1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variación</a:t>
            </a:r>
            <a:r>
              <a:rPr lang="en-US" sz="1200" b="0" u="none" dirty="0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 </a:t>
            </a:r>
            <a:r>
              <a:rPr lang="en-US" sz="1200" b="0" u="none" dirty="0" err="1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estacional</a:t>
            </a:r>
            <a:r>
              <a:rPr lang="en-US" sz="1200" b="0" u="none" dirty="0">
                <a:solidFill>
                  <a:srgbClr val="009AD8"/>
                </a:solidFill>
                <a:latin typeface="Calibri" pitchFamily="34" charset="0"/>
                <a:ea typeface="ＭＳ Ｐゴシック" charset="0"/>
              </a:rPr>
              <a:t>)</a:t>
            </a:r>
          </a:p>
        </p:txBody>
      </p:sp>
      <p:sp>
        <p:nvSpPr>
          <p:cNvPr id="48" name="Marcador de texto 1">
            <a:extLst>
              <a:ext uri="{FF2B5EF4-FFF2-40B4-BE49-F238E27FC236}">
                <a16:creationId xmlns:a16="http://schemas.microsoft.com/office/drawing/2014/main" id="{F0602BB5-4CE7-40AC-95EE-55F1C7411FA3}"/>
              </a:ext>
            </a:extLst>
          </p:cNvPr>
          <p:cNvSpPr txBox="1">
            <a:spLocks/>
          </p:cNvSpPr>
          <p:nvPr/>
        </p:nvSpPr>
        <p:spPr bwMode="auto">
          <a:xfrm>
            <a:off x="3157887" y="531750"/>
            <a:ext cx="8667736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88898" indent="-88898" algn="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hlink"/>
              </a:buClr>
              <a:buFont typeface="Wingdings" pitchFamily="2" charset="2"/>
              <a:buNone/>
              <a:defRPr sz="1800" b="1">
                <a:solidFill>
                  <a:srgbClr val="748D99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1942" indent="-93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80959F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628635" indent="-8731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895328" indent="-8731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168371" indent="-93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625559" indent="-93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82748" indent="-93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39937" indent="-93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97125" indent="-93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endParaRPr lang="es-ES" sz="2100" u="none" kern="0" dirty="0"/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04C9B0EC-0C75-47D9-96EE-8E1E533B3B22}"/>
              </a:ext>
            </a:extLst>
          </p:cNvPr>
          <p:cNvSpPr txBox="1"/>
          <p:nvPr/>
        </p:nvSpPr>
        <p:spPr>
          <a:xfrm>
            <a:off x="1675968" y="6379548"/>
            <a:ext cx="99933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s-ES" sz="1000" b="0" u="none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</a:rPr>
              <a:t>Fuente: CaixaBank Research, a partir de datos internos.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0A13EC41-63ED-4837-86C0-03E978DF1D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5105" y="483567"/>
            <a:ext cx="8667736" cy="214314"/>
          </a:xfrm>
        </p:spPr>
        <p:txBody>
          <a:bodyPr/>
          <a:lstStyle/>
          <a:p>
            <a:r>
              <a:rPr lang="en-US" sz="2800" dirty="0" err="1">
                <a:solidFill>
                  <a:srgbClr val="009AD8"/>
                </a:solidFill>
                <a:ea typeface="ＭＳ Ｐゴシック" charset="0"/>
              </a:rPr>
              <a:t>Evolución</a:t>
            </a:r>
            <a:r>
              <a:rPr lang="en-US" sz="2800" dirty="0">
                <a:solidFill>
                  <a:srgbClr val="009AD8"/>
                </a:solidFill>
                <a:ea typeface="ＭＳ Ｐゴシック" charset="0"/>
              </a:rPr>
              <a:t> </a:t>
            </a:r>
            <a:r>
              <a:rPr lang="en-US" sz="2800" dirty="0" err="1">
                <a:solidFill>
                  <a:srgbClr val="009AD8"/>
                </a:solidFill>
                <a:ea typeface="ＭＳ Ｐゴシック" charset="0"/>
              </a:rPr>
              <a:t>mensual</a:t>
            </a:r>
            <a:r>
              <a:rPr lang="en-US" sz="2800" dirty="0">
                <a:solidFill>
                  <a:srgbClr val="009AD8"/>
                </a:solidFill>
                <a:ea typeface="ＭＳ Ｐゴシック" charset="0"/>
              </a:rPr>
              <a:t> del </a:t>
            </a:r>
            <a:r>
              <a:rPr lang="en-US" sz="2800" dirty="0" err="1">
                <a:solidFill>
                  <a:srgbClr val="009AD8"/>
                </a:solidFill>
                <a:ea typeface="ＭＳ Ｐゴシック" charset="0"/>
              </a:rPr>
              <a:t>índice</a:t>
            </a:r>
            <a:r>
              <a:rPr lang="en-US" sz="2800" dirty="0">
                <a:solidFill>
                  <a:srgbClr val="009AD8"/>
                </a:solidFill>
                <a:ea typeface="ＭＳ Ｐゴシック" charset="0"/>
              </a:rPr>
              <a:t> de Gini por </a:t>
            </a:r>
            <a:r>
              <a:rPr lang="en-US" sz="2800" dirty="0" err="1">
                <a:solidFill>
                  <a:srgbClr val="009AD8"/>
                </a:solidFill>
                <a:ea typeface="ＭＳ Ｐゴシック" charset="0"/>
              </a:rPr>
              <a:t>colectivos</a:t>
            </a:r>
            <a:endParaRPr lang="en-US" sz="2800" dirty="0">
              <a:solidFill>
                <a:srgbClr val="009AD8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39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  <p:pic>
        <p:nvPicPr>
          <p:cNvPr id="36" name="Picture 106" descr="A group of clouds in the sky&#10;&#10;Description automatically generated">
            <a:extLst>
              <a:ext uri="{FF2B5EF4-FFF2-40B4-BE49-F238E27FC236}">
                <a16:creationId xmlns:a16="http://schemas.microsoft.com/office/drawing/2014/main" id="{921AC296-F431-4CD4-94A8-6F05D02DC42B}"/>
              </a:ext>
            </a:extLst>
          </p:cNvPr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42" t="3316" r="47511" b="386"/>
          <a:stretch/>
        </p:blipFill>
        <p:spPr>
          <a:xfrm>
            <a:off x="-41466" y="1158599"/>
            <a:ext cx="1260000" cy="5400000"/>
          </a:xfrm>
          <a:custGeom>
            <a:avLst/>
            <a:gdLst>
              <a:gd name="connsiteX0" fmla="*/ 0 w 12191987"/>
              <a:gd name="connsiteY0" fmla="*/ 0 h 1834422"/>
              <a:gd name="connsiteX1" fmla="*/ 12191987 w 12191987"/>
              <a:gd name="connsiteY1" fmla="*/ 0 h 1834422"/>
              <a:gd name="connsiteX2" fmla="*/ 12191987 w 12191987"/>
              <a:gd name="connsiteY2" fmla="*/ 1834422 h 1834422"/>
              <a:gd name="connsiteX3" fmla="*/ 0 w 12191987"/>
              <a:gd name="connsiteY3" fmla="*/ 1834422 h 1834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87" h="1834422">
                <a:moveTo>
                  <a:pt x="0" y="0"/>
                </a:moveTo>
                <a:lnTo>
                  <a:pt x="12191987" y="0"/>
                </a:lnTo>
                <a:lnTo>
                  <a:pt x="12191987" y="1834422"/>
                </a:lnTo>
                <a:lnTo>
                  <a:pt x="0" y="1834422"/>
                </a:lnTo>
                <a:close/>
              </a:path>
            </a:pathLst>
          </a:custGeom>
        </p:spPr>
      </p:pic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314D1AF0-13A0-4022-8928-4A0B8CEB098C}"/>
              </a:ext>
            </a:extLst>
          </p:cNvPr>
          <p:cNvSpPr txBox="1">
            <a:spLocks/>
          </p:cNvSpPr>
          <p:nvPr/>
        </p:nvSpPr>
        <p:spPr>
          <a:xfrm rot="10800000">
            <a:off x="-32607" y="1151673"/>
            <a:ext cx="1260000" cy="5400000"/>
          </a:xfrm>
          <a:prstGeom prst="rect">
            <a:avLst/>
          </a:prstGeom>
          <a:gradFill flip="none" rotWithShape="1">
            <a:gsLst>
              <a:gs pos="18000">
                <a:srgbClr val="009AD8">
                  <a:alpha val="8000"/>
                </a:srgbClr>
              </a:gs>
              <a:gs pos="87000">
                <a:srgbClr val="4ABDF0">
                  <a:alpha val="52000"/>
                </a:srgbClr>
              </a:gs>
              <a:gs pos="71000">
                <a:srgbClr val="4ABDF0">
                  <a:alpha val="15000"/>
                </a:srgbClr>
              </a:gs>
              <a:gs pos="100000">
                <a:srgbClr val="4ABDF0">
                  <a:alpha val="94000"/>
                </a:srgbClr>
              </a:gs>
            </a:gsLst>
            <a:lin ang="8100000" scaled="1"/>
            <a:tileRect/>
          </a:gradFill>
          <a:ln w="95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1800" kern="1200" dirty="0">
                <a:solidFill>
                  <a:prstClr val="white">
                    <a:alpha val="0"/>
                  </a:prstClr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s-E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0"/>
                  </a:prstClr>
                </a:solidFill>
                <a:effectLst/>
                <a:uLnTx/>
                <a:uFillTx/>
                <a:latin typeface="Segoe UI" panose="020B0502040204020203" pitchFamily="34" charset="0"/>
                <a:ea typeface="ＭＳ Ｐゴシック"/>
                <a:cs typeface="+mn-cs"/>
              </a:rPr>
              <a:t>.</a:t>
            </a: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8BDB9F9-D537-4F39-B2A9-00D5DD6583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134" y="290629"/>
            <a:ext cx="7060565" cy="518108"/>
          </a:xfrm>
        </p:spPr>
        <p:txBody>
          <a:bodyPr/>
          <a:lstStyle/>
          <a:p>
            <a:pPr marL="0" indent="0"/>
            <a:r>
              <a:rPr lang="es-ES" sz="2400" dirty="0"/>
              <a:t>La transición demográfica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6D776A2-0C4A-4D7C-A06B-60355ED2E6D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23" r="11406"/>
          <a:stretch/>
        </p:blipFill>
        <p:spPr>
          <a:xfrm>
            <a:off x="1387094" y="1151673"/>
            <a:ext cx="9429904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81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Straight Connector 9">
            <a:extLst>
              <a:ext uri="{FF2B5EF4-FFF2-40B4-BE49-F238E27FC236}">
                <a16:creationId xmlns:a16="http://schemas.microsoft.com/office/drawing/2014/main" id="{22E178F6-9272-4DBD-8F23-90B92F547CFE}"/>
              </a:ext>
            </a:extLst>
          </p:cNvPr>
          <p:cNvCxnSpPr>
            <a:cxnSpLocks/>
          </p:cNvCxnSpPr>
          <p:nvPr/>
        </p:nvCxnSpPr>
        <p:spPr>
          <a:xfrm>
            <a:off x="372429" y="-15609"/>
            <a:ext cx="0" cy="6873609"/>
          </a:xfrm>
          <a:prstGeom prst="line">
            <a:avLst/>
          </a:prstGeom>
          <a:noFill/>
          <a:ln w="6350" cap="rnd" cmpd="sng" algn="ctr">
            <a:solidFill>
              <a:srgbClr val="4ABDF0"/>
            </a:solidFill>
            <a:prstDash val="solid"/>
            <a:round/>
          </a:ln>
          <a:effectLst/>
        </p:spPr>
      </p:cxn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18BDB9F9-D537-4F39-B2A9-00D5DD6583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5134" y="290629"/>
            <a:ext cx="7060565" cy="518108"/>
          </a:xfrm>
        </p:spPr>
        <p:txBody>
          <a:bodyPr/>
          <a:lstStyle/>
          <a:p>
            <a:pPr marL="0" indent="0"/>
            <a:r>
              <a:rPr lang="es-ES" sz="2400" dirty="0"/>
              <a:t>Esquema</a:t>
            </a:r>
          </a:p>
        </p:txBody>
      </p:sp>
      <p:pic>
        <p:nvPicPr>
          <p:cNvPr id="9" name="Imagen 2">
            <a:extLst>
              <a:ext uri="{FF2B5EF4-FFF2-40B4-BE49-F238E27FC236}">
                <a16:creationId xmlns:a16="http://schemas.microsoft.com/office/drawing/2014/main" id="{6BC78CFC-D9EA-43DF-B03F-93CEAFE436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prstClr val="black"/>
              <a:srgbClr val="009AD8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1743" r="9872"/>
          <a:stretch/>
        </p:blipFill>
        <p:spPr>
          <a:xfrm rot="16200000">
            <a:off x="-1933105" y="2962384"/>
            <a:ext cx="5201664" cy="1545294"/>
          </a:xfrm>
          <a:prstGeom prst="rect">
            <a:avLst/>
          </a:prstGeom>
        </p:spPr>
      </p:pic>
      <p:sp>
        <p:nvSpPr>
          <p:cNvPr id="10" name="2 Marcador de texto">
            <a:extLst>
              <a:ext uri="{FF2B5EF4-FFF2-40B4-BE49-F238E27FC236}">
                <a16:creationId xmlns:a16="http://schemas.microsoft.com/office/drawing/2014/main" id="{415DF4CB-0E32-4154-98D2-70F088C23726}"/>
              </a:ext>
            </a:extLst>
          </p:cNvPr>
          <p:cNvSpPr txBox="1">
            <a:spLocks/>
          </p:cNvSpPr>
          <p:nvPr/>
        </p:nvSpPr>
        <p:spPr bwMode="auto">
          <a:xfrm>
            <a:off x="2643791" y="1645193"/>
            <a:ext cx="8529033" cy="40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88900" indent="-88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chemeClr val="hlink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195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80959F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6286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895350" indent="-8731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1168400" indent="-93663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Font typeface="Wingdings" pitchFamily="2" charset="2"/>
              <a:buChar char="§"/>
              <a:defRPr sz="1300">
                <a:solidFill>
                  <a:srgbClr val="333333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16256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6pPr>
            <a:lvl7pPr marL="20828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7pPr>
            <a:lvl8pPr marL="25400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8pPr>
            <a:lvl9pPr marL="2997200" indent="-93663" algn="l" rtl="0" fontAlgn="base">
              <a:lnSpc>
                <a:spcPct val="90000"/>
              </a:lnSpc>
              <a:spcBef>
                <a:spcPct val="0"/>
              </a:spcBef>
              <a:spcAft>
                <a:spcPct val="25000"/>
              </a:spcAft>
              <a:buClr>
                <a:srgbClr val="9DAEB7"/>
              </a:buClr>
              <a:buChar char="."/>
              <a:defRPr sz="10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  <a:ea typeface="ＭＳ Ｐゴシック"/>
              </a:rPr>
              <a:t>Introducción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lang="es-ES" sz="2400" b="1" kern="0" dirty="0">
                <a:solidFill>
                  <a:prstClr val="black"/>
                </a:solidFill>
                <a:ea typeface="ＭＳ Ｐゴシック"/>
              </a:rPr>
              <a:t>Transición demográfica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Envejecimiento y crecimiento económico</a:t>
            </a:r>
          </a:p>
          <a:p>
            <a:pPr marL="0" lvl="0" inden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None/>
              <a:defRPr/>
            </a:pP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Mecanismos para paliar </a:t>
            </a: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</a:rPr>
              <a:t>el impacto </a:t>
            </a: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/>
                <a:cs typeface="Calibri" pitchFamily="34" charset="0"/>
              </a:rPr>
              <a:t>económico del envejecimient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200"/>
              </a:spcBef>
              <a:spcAft>
                <a:spcPts val="3000"/>
              </a:spcAft>
              <a:buClr>
                <a:srgbClr val="009AD8"/>
              </a:buClr>
              <a:buSzPct val="160000"/>
              <a:buFont typeface="Wingdings" pitchFamily="2" charset="2"/>
              <a:buNone/>
              <a:tabLst/>
              <a:defRPr/>
            </a:pPr>
            <a:r>
              <a:rPr lang="es-ES" sz="2400" b="1" kern="0" dirty="0">
                <a:solidFill>
                  <a:prstClr val="white">
                    <a:lumMod val="65000"/>
                  </a:prstClr>
                </a:solidFill>
                <a:ea typeface="ＭＳ Ｐゴシック"/>
              </a:rPr>
              <a:t>Conclusiones</a:t>
            </a:r>
            <a:endParaRPr kumimoji="0" lang="es-ES" sz="2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itchFamily="34" charset="0"/>
              <a:ea typeface="ＭＳ Ｐゴシック"/>
              <a:cs typeface="Calibri" pitchFamily="34" charset="0"/>
            </a:endParaRPr>
          </a:p>
        </p:txBody>
      </p:sp>
      <p:grpSp>
        <p:nvGrpSpPr>
          <p:cNvPr id="11" name="Grupo 9">
            <a:extLst>
              <a:ext uri="{FF2B5EF4-FFF2-40B4-BE49-F238E27FC236}">
                <a16:creationId xmlns:a16="http://schemas.microsoft.com/office/drawing/2014/main" id="{497AA137-200F-4EFC-BB64-54992BBFAAFA}"/>
              </a:ext>
            </a:extLst>
          </p:cNvPr>
          <p:cNvGrpSpPr/>
          <p:nvPr/>
        </p:nvGrpSpPr>
        <p:grpSpPr>
          <a:xfrm>
            <a:off x="1791999" y="1534294"/>
            <a:ext cx="676275" cy="676275"/>
            <a:chOff x="3057525" y="2571750"/>
            <a:chExt cx="676275" cy="676275"/>
          </a:xfrm>
        </p:grpSpPr>
        <p:sp>
          <p:nvSpPr>
            <p:cNvPr id="14" name="Rectángulo 7">
              <a:extLst>
                <a:ext uri="{FF2B5EF4-FFF2-40B4-BE49-F238E27FC236}">
                  <a16:creationId xmlns:a16="http://schemas.microsoft.com/office/drawing/2014/main" id="{F132D1CD-2446-4BC0-A1D6-A4ADA61BB635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5" name="Rectángulo 11">
              <a:extLst>
                <a:ext uri="{FF2B5EF4-FFF2-40B4-BE49-F238E27FC236}">
                  <a16:creationId xmlns:a16="http://schemas.microsoft.com/office/drawing/2014/main" id="{2624A886-111E-437E-B713-8D2DFF5F97C2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a-ES" sz="2800" b="1" dirty="0">
                  <a:solidFill>
                    <a:srgbClr val="4BACC6">
                      <a:lumMod val="60000"/>
                      <a:lumOff val="40000"/>
                    </a:srgbClr>
                  </a:solidFill>
                  <a:latin typeface="Calibri" panose="020F0502020204030204" pitchFamily="34" charset="0"/>
                  <a:ea typeface="ＭＳ Ｐゴシック"/>
                </a:rPr>
                <a:t>1</a:t>
              </a:r>
              <a:endParaRPr lang="es-ES" sz="2800" b="1" dirty="0">
                <a:solidFill>
                  <a:srgbClr val="4BACC6">
                    <a:lumMod val="60000"/>
                    <a:lumOff val="40000"/>
                  </a:srgbClr>
                </a:solidFill>
                <a:latin typeface="Calibri" panose="020F0502020204030204" pitchFamily="34" charset="0"/>
                <a:ea typeface="ＭＳ Ｐゴシック"/>
              </a:endParaRPr>
            </a:p>
          </p:txBody>
        </p:sp>
      </p:grpSp>
      <p:grpSp>
        <p:nvGrpSpPr>
          <p:cNvPr id="16" name="Grupo 12">
            <a:extLst>
              <a:ext uri="{FF2B5EF4-FFF2-40B4-BE49-F238E27FC236}">
                <a16:creationId xmlns:a16="http://schemas.microsoft.com/office/drawing/2014/main" id="{B3B71B00-8BDA-4E79-A610-643A03514497}"/>
              </a:ext>
            </a:extLst>
          </p:cNvPr>
          <p:cNvGrpSpPr/>
          <p:nvPr/>
        </p:nvGrpSpPr>
        <p:grpSpPr>
          <a:xfrm>
            <a:off x="1791999" y="2442681"/>
            <a:ext cx="676275" cy="676275"/>
            <a:chOff x="3057525" y="2571750"/>
            <a:chExt cx="676275" cy="676275"/>
          </a:xfrm>
        </p:grpSpPr>
        <p:sp>
          <p:nvSpPr>
            <p:cNvPr id="17" name="Rectángulo 13">
              <a:extLst>
                <a:ext uri="{FF2B5EF4-FFF2-40B4-BE49-F238E27FC236}">
                  <a16:creationId xmlns:a16="http://schemas.microsoft.com/office/drawing/2014/main" id="{343EB4AA-D70A-4F6C-8EF4-9233A98B73D6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8" name="Rectángulo 14">
              <a:extLst>
                <a:ext uri="{FF2B5EF4-FFF2-40B4-BE49-F238E27FC236}">
                  <a16:creationId xmlns:a16="http://schemas.microsoft.com/office/drawing/2014/main" id="{081C4A98-AD52-4CA5-B2A8-FDBF0CBC12FF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2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9" name="Grupo 12">
            <a:extLst>
              <a:ext uri="{FF2B5EF4-FFF2-40B4-BE49-F238E27FC236}">
                <a16:creationId xmlns:a16="http://schemas.microsoft.com/office/drawing/2014/main" id="{25A34E27-5245-49D6-A0A5-3F3A9852CD85}"/>
              </a:ext>
            </a:extLst>
          </p:cNvPr>
          <p:cNvGrpSpPr/>
          <p:nvPr/>
        </p:nvGrpSpPr>
        <p:grpSpPr>
          <a:xfrm>
            <a:off x="1791999" y="3307604"/>
            <a:ext cx="676275" cy="676275"/>
            <a:chOff x="3057525" y="2571750"/>
            <a:chExt cx="676275" cy="676275"/>
          </a:xfrm>
        </p:grpSpPr>
        <p:sp>
          <p:nvSpPr>
            <p:cNvPr id="20" name="Rectángulo 13">
              <a:extLst>
                <a:ext uri="{FF2B5EF4-FFF2-40B4-BE49-F238E27FC236}">
                  <a16:creationId xmlns:a16="http://schemas.microsoft.com/office/drawing/2014/main" id="{197069CD-8E47-4722-A263-AA6FF0CCA27E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9028F608-93B9-4467-AF3F-1F3BCCB7FB48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3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22" name="Grupo 12">
            <a:extLst>
              <a:ext uri="{FF2B5EF4-FFF2-40B4-BE49-F238E27FC236}">
                <a16:creationId xmlns:a16="http://schemas.microsoft.com/office/drawing/2014/main" id="{7BC0A413-024A-462D-AC23-E20439E1F52C}"/>
              </a:ext>
            </a:extLst>
          </p:cNvPr>
          <p:cNvGrpSpPr/>
          <p:nvPr/>
        </p:nvGrpSpPr>
        <p:grpSpPr>
          <a:xfrm>
            <a:off x="1791999" y="4259455"/>
            <a:ext cx="676275" cy="676275"/>
            <a:chOff x="3057525" y="2571750"/>
            <a:chExt cx="676275" cy="676275"/>
          </a:xfrm>
        </p:grpSpPr>
        <p:sp>
          <p:nvSpPr>
            <p:cNvPr id="23" name="Rectángulo 13">
              <a:extLst>
                <a:ext uri="{FF2B5EF4-FFF2-40B4-BE49-F238E27FC236}">
                  <a16:creationId xmlns:a16="http://schemas.microsoft.com/office/drawing/2014/main" id="{4EC36241-8CBD-4816-8ED0-9D2524860CF6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" name="Rectángulo 14">
              <a:extLst>
                <a:ext uri="{FF2B5EF4-FFF2-40B4-BE49-F238E27FC236}">
                  <a16:creationId xmlns:a16="http://schemas.microsoft.com/office/drawing/2014/main" id="{BEC9CCCC-E77A-4F6B-BDB3-D356F28E1633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4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25" name="Grupo 12">
            <a:extLst>
              <a:ext uri="{FF2B5EF4-FFF2-40B4-BE49-F238E27FC236}">
                <a16:creationId xmlns:a16="http://schemas.microsoft.com/office/drawing/2014/main" id="{EEB98479-CF7B-4CD5-B8B0-F2C3003FAB85}"/>
              </a:ext>
            </a:extLst>
          </p:cNvPr>
          <p:cNvGrpSpPr/>
          <p:nvPr/>
        </p:nvGrpSpPr>
        <p:grpSpPr>
          <a:xfrm>
            <a:off x="1791999" y="5167842"/>
            <a:ext cx="676275" cy="676275"/>
            <a:chOff x="3057525" y="2571750"/>
            <a:chExt cx="676275" cy="676275"/>
          </a:xfrm>
        </p:grpSpPr>
        <p:sp>
          <p:nvSpPr>
            <p:cNvPr id="26" name="Rectángulo 13">
              <a:extLst>
                <a:ext uri="{FF2B5EF4-FFF2-40B4-BE49-F238E27FC236}">
                  <a16:creationId xmlns:a16="http://schemas.microsoft.com/office/drawing/2014/main" id="{B9D88301-BF2C-41E6-B099-AF91138DDC9C}"/>
                </a:ext>
              </a:extLst>
            </p:cNvPr>
            <p:cNvSpPr/>
            <p:nvPr/>
          </p:nvSpPr>
          <p:spPr bwMode="auto">
            <a:xfrm>
              <a:off x="3057525" y="2571750"/>
              <a:ext cx="676275" cy="676275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" name="Rectángulo 14">
              <a:extLst>
                <a:ext uri="{FF2B5EF4-FFF2-40B4-BE49-F238E27FC236}">
                  <a16:creationId xmlns:a16="http://schemas.microsoft.com/office/drawing/2014/main" id="{DDDAB773-4B5C-4D3F-B446-E3D01253B541}"/>
                </a:ext>
              </a:extLst>
            </p:cNvPr>
            <p:cNvSpPr/>
            <p:nvPr/>
          </p:nvSpPr>
          <p:spPr bwMode="auto">
            <a:xfrm>
              <a:off x="3138487" y="2652712"/>
              <a:ext cx="514350" cy="5143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4BACC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ＭＳ Ｐゴシック"/>
                  <a:cs typeface="+mn-cs"/>
                </a:rPr>
                <a:t>5</a:t>
              </a:r>
              <a:endPara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820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u="heavy" dirty="0">
                <a:uFill>
                  <a:solidFill>
                    <a:srgbClr val="FF0000"/>
                  </a:solidFill>
                </a:uFill>
              </a:rPr>
              <a:t>Una bendición: vivimos más años</a:t>
            </a:r>
            <a:endParaRPr lang="es-ES" dirty="0"/>
          </a:p>
        </p:txBody>
      </p:sp>
      <p:sp>
        <p:nvSpPr>
          <p:cNvPr id="4" name="3 Título"/>
          <p:cNvSpPr>
            <a:spLocks noGrp="1"/>
          </p:cNvSpPr>
          <p:nvPr>
            <p:ph type="title" idx="4294967295"/>
          </p:nvPr>
        </p:nvSpPr>
        <p:spPr>
          <a:xfrm>
            <a:off x="600075" y="925513"/>
            <a:ext cx="11591925" cy="34131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Aumento diario de la esperanza de vida entre 2015-2030*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294967295"/>
          </p:nvPr>
        </p:nvSpPr>
        <p:spPr>
          <a:xfrm>
            <a:off x="11907838" y="6510338"/>
            <a:ext cx="284162" cy="1524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2DA5297-3E08-4C9A-B238-7A781E48082A}" type="slidenum">
              <a:rPr kumimoji="0" lang="es-ES_tradnl" sz="800" b="1" i="0" u="none" strike="noStrike" kern="1200" cap="none" spc="0" normalizeH="0" baseline="0" noProof="0" smtClean="0">
                <a:ln>
                  <a:noFill/>
                </a:ln>
                <a:solidFill>
                  <a:srgbClr val="748D99"/>
                </a:solidFill>
                <a:effectLst/>
                <a:uLnTx/>
                <a:uFillTx/>
                <a:latin typeface="Calibri" pitchFamily="34" charset="0"/>
                <a:ea typeface="ＭＳ Ｐゴシック" pitchFamily="1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_tradnl" sz="800" b="1" i="0" u="none" strike="noStrike" kern="1200" cap="none" spc="0" normalizeH="0" baseline="0" noProof="0" dirty="0">
              <a:ln>
                <a:noFill/>
              </a:ln>
              <a:solidFill>
                <a:srgbClr val="748D99"/>
              </a:solidFill>
              <a:effectLst/>
              <a:uLnTx/>
              <a:uFillTx/>
              <a:latin typeface="Calibri" pitchFamily="34" charset="0"/>
              <a:ea typeface="ＭＳ Ｐゴシック" pitchFamily="1" charset="-128"/>
              <a:cs typeface="+mn-cs"/>
            </a:endParaRP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989299"/>
              </p:ext>
            </p:extLst>
          </p:nvPr>
        </p:nvGraphicFramePr>
        <p:xfrm>
          <a:off x="13076170" y="1441575"/>
          <a:ext cx="8950575" cy="4461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ángulo 11"/>
          <p:cNvSpPr/>
          <p:nvPr/>
        </p:nvSpPr>
        <p:spPr bwMode="auto">
          <a:xfrm>
            <a:off x="10002306" y="3119389"/>
            <a:ext cx="1724101" cy="1038826"/>
          </a:xfrm>
          <a:prstGeom prst="rect">
            <a:avLst/>
          </a:prstGeom>
          <a:noFill/>
          <a:ln w="57150" cap="flat" cmpd="sng" algn="ctr">
            <a:solidFill>
              <a:srgbClr val="009AD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+mn-cs"/>
            </a:endParaRPr>
          </a:p>
        </p:txBody>
      </p:sp>
      <p:sp>
        <p:nvSpPr>
          <p:cNvPr id="11" name="Rectángulo 13"/>
          <p:cNvSpPr>
            <a:spLocks/>
          </p:cNvSpPr>
          <p:nvPr/>
        </p:nvSpPr>
        <p:spPr bwMode="auto">
          <a:xfrm>
            <a:off x="9950846" y="3134770"/>
            <a:ext cx="1775561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12" charset="-128"/>
                <a:cs typeface="+mn-cs"/>
              </a:rPr>
              <a:t>Cada día aumenta en 3 horas</a:t>
            </a:r>
          </a:p>
        </p:txBody>
      </p:sp>
      <p:sp>
        <p:nvSpPr>
          <p:cNvPr id="14" name="Rectángulo 13"/>
          <p:cNvSpPr/>
          <p:nvPr/>
        </p:nvSpPr>
        <p:spPr bwMode="auto">
          <a:xfrm>
            <a:off x="10002306" y="2286589"/>
            <a:ext cx="1724101" cy="816816"/>
          </a:xfrm>
          <a:prstGeom prst="rect">
            <a:avLst/>
          </a:prstGeom>
          <a:solidFill>
            <a:srgbClr val="009AD8"/>
          </a:solidFill>
          <a:ln w="57150" cap="flat" cmpd="sng" algn="ctr">
            <a:solidFill>
              <a:srgbClr val="009AD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+mn-cs"/>
            </a:endParaRPr>
          </a:p>
        </p:txBody>
      </p:sp>
      <p:sp>
        <p:nvSpPr>
          <p:cNvPr id="15" name="Rectángulo 13"/>
          <p:cNvSpPr>
            <a:spLocks/>
          </p:cNvSpPr>
          <p:nvPr/>
        </p:nvSpPr>
        <p:spPr bwMode="auto">
          <a:xfrm>
            <a:off x="9855220" y="2296269"/>
            <a:ext cx="2018272" cy="704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12" charset="-128"/>
                <a:cs typeface="+mn-cs"/>
              </a:rPr>
              <a:t>Esperanza de vida en España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780664" y="5969608"/>
            <a:ext cx="92795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Nota: 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(*) </a:t>
            </a:r>
            <a:r>
              <a:rPr kumimoji="0" lang="ca-E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Variación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</a:t>
            </a:r>
            <a:r>
              <a:rPr kumimoji="0" lang="ca-E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diaria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de la </a:t>
            </a:r>
            <a:r>
              <a:rPr kumimoji="0" lang="ca-E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esperanza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de vida de la </a:t>
            </a:r>
            <a:r>
              <a:rPr kumimoji="0" lang="ca-E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población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masculina entre 2019 y 2045. 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Fuente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: CaixaBank Research, a partir de </a:t>
            </a:r>
            <a:r>
              <a:rPr kumimoji="0" lang="ca-E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datos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de </a:t>
            </a:r>
            <a:r>
              <a:rPr lang="ca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2021 </a:t>
            </a:r>
            <a:r>
              <a:rPr lang="ca-ES" sz="1200" dirty="0" err="1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Ageing</a:t>
            </a:r>
            <a:r>
              <a:rPr lang="ca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 Report (</a:t>
            </a:r>
            <a:r>
              <a:rPr lang="ca-ES" sz="1200" dirty="0" err="1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Comisión</a:t>
            </a:r>
            <a:r>
              <a:rPr lang="ca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 Europea). </a:t>
            </a:r>
            <a:endParaRPr kumimoji="0" lang="ca-E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780664" y="1250082"/>
            <a:ext cx="6352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Horas</a:t>
            </a:r>
            <a:endParaRPr kumimoji="0" lang="ca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3" name="Rectángulo 13"/>
          <p:cNvSpPr>
            <a:spLocks/>
          </p:cNvSpPr>
          <p:nvPr/>
        </p:nvSpPr>
        <p:spPr bwMode="auto">
          <a:xfrm>
            <a:off x="9965359" y="4320206"/>
            <a:ext cx="1775561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12" charset="-128"/>
                <a:cs typeface="+mn-cs"/>
              </a:rPr>
              <a:t>Cada año, en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2000" b="1" dirty="0">
                <a:solidFill>
                  <a:prstClr val="black">
                    <a:lumMod val="95000"/>
                    <a:lumOff val="5000"/>
                  </a:prstClr>
                </a:solidFill>
                <a:latin typeface="Calibri" panose="020F0502020204030204" pitchFamily="34" charset="0"/>
                <a:ea typeface="ＭＳ Ｐゴシック" pitchFamily="-112" charset="-128"/>
              </a:rPr>
              <a:t>6 semanas</a:t>
            </a:r>
            <a:endParaRPr kumimoji="0" lang="es-ES_tradnl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 panose="020F0502020204030204" pitchFamily="34" charset="0"/>
              <a:ea typeface="ＭＳ Ｐゴシック" pitchFamily="-112" charset="-128"/>
              <a:cs typeface="+mn-cs"/>
            </a:endParaRPr>
          </a:p>
        </p:txBody>
      </p:sp>
      <p:sp>
        <p:nvSpPr>
          <p:cNvPr id="16" name="Rectángulo 15"/>
          <p:cNvSpPr/>
          <p:nvPr/>
        </p:nvSpPr>
        <p:spPr bwMode="auto">
          <a:xfrm>
            <a:off x="9997364" y="4158215"/>
            <a:ext cx="1724101" cy="1038826"/>
          </a:xfrm>
          <a:prstGeom prst="rect">
            <a:avLst/>
          </a:prstGeom>
          <a:noFill/>
          <a:ln w="57150" cap="flat" cmpd="sng" algn="ctr">
            <a:solidFill>
              <a:srgbClr val="009AD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+mn-cs"/>
            </a:endParaRPr>
          </a:p>
        </p:txBody>
      </p:sp>
      <p:cxnSp>
        <p:nvCxnSpPr>
          <p:cNvPr id="7" name="Conector recto 6"/>
          <p:cNvCxnSpPr>
            <a:cxnSpLocks/>
          </p:cNvCxnSpPr>
          <p:nvPr/>
        </p:nvCxnSpPr>
        <p:spPr bwMode="auto">
          <a:xfrm>
            <a:off x="3811652" y="5836769"/>
            <a:ext cx="500561" cy="1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48134C85-96D5-4FFF-BB73-7FD407F5FC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0873097"/>
              </p:ext>
            </p:extLst>
          </p:nvPr>
        </p:nvGraphicFramePr>
        <p:xfrm>
          <a:off x="780664" y="1583693"/>
          <a:ext cx="8862323" cy="4329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328062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9857B0C-18F9-4415-A043-FAB91E960D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Menores nacimientos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AC9A56F4-E5CF-408E-A98B-0015DEFED2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4089699"/>
              </p:ext>
            </p:extLst>
          </p:nvPr>
        </p:nvGraphicFramePr>
        <p:xfrm>
          <a:off x="593725" y="1649608"/>
          <a:ext cx="864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A505D3CE-C11D-4F63-AEEE-C091B407B725}"/>
              </a:ext>
            </a:extLst>
          </p:cNvPr>
          <p:cNvSpPr txBox="1"/>
          <p:nvPr/>
        </p:nvSpPr>
        <p:spPr>
          <a:xfrm>
            <a:off x="780664" y="5969608"/>
            <a:ext cx="927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Fuente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: CaixaBank Research, a partir de </a:t>
            </a:r>
            <a:r>
              <a:rPr kumimoji="0" lang="ca-E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datos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del INE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1C8A710-B7B6-4E64-8F99-A8A1E34BEFA0}"/>
              </a:ext>
            </a:extLst>
          </p:cNvPr>
          <p:cNvSpPr txBox="1"/>
          <p:nvPr/>
        </p:nvSpPr>
        <p:spPr>
          <a:xfrm>
            <a:off x="780664" y="1250082"/>
            <a:ext cx="6352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Número de </a:t>
            </a:r>
            <a:r>
              <a:rPr kumimoji="0" lang="ca-E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hijos</a:t>
            </a:r>
            <a:r>
              <a: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por </a:t>
            </a:r>
            <a:r>
              <a:rPr kumimoji="0" lang="ca-E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mujer</a:t>
            </a:r>
            <a:r>
              <a: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en </a:t>
            </a:r>
            <a:r>
              <a:rPr kumimoji="0" lang="ca-E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edad</a:t>
            </a:r>
            <a:r>
              <a: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</a:t>
            </a:r>
            <a:r>
              <a:rPr kumimoji="0" lang="ca-E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fértil</a:t>
            </a:r>
            <a:endParaRPr kumimoji="0" lang="ca-E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9" name="Rectángulo 13">
            <a:extLst>
              <a:ext uri="{FF2B5EF4-FFF2-40B4-BE49-F238E27FC236}">
                <a16:creationId xmlns:a16="http://schemas.microsoft.com/office/drawing/2014/main" id="{5541ED37-0008-4787-A32E-C7498E54FFF7}"/>
              </a:ext>
            </a:extLst>
          </p:cNvPr>
          <p:cNvSpPr>
            <a:spLocks/>
          </p:cNvSpPr>
          <p:nvPr/>
        </p:nvSpPr>
        <p:spPr bwMode="auto">
          <a:xfrm>
            <a:off x="9479584" y="3796331"/>
            <a:ext cx="1775561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12" charset="-128"/>
                <a:cs typeface="+mn-cs"/>
              </a:rPr>
              <a:t>1,2 hijos por mujer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6F52E9BA-BB94-4ED1-AFCC-2A2C1E5E3622}"/>
              </a:ext>
            </a:extLst>
          </p:cNvPr>
          <p:cNvSpPr/>
          <p:nvPr/>
        </p:nvSpPr>
        <p:spPr bwMode="auto">
          <a:xfrm>
            <a:off x="9511589" y="3634340"/>
            <a:ext cx="1724101" cy="1038826"/>
          </a:xfrm>
          <a:prstGeom prst="rect">
            <a:avLst/>
          </a:prstGeom>
          <a:noFill/>
          <a:ln w="57150" cap="flat" cmpd="sng" algn="ctr">
            <a:solidFill>
              <a:srgbClr val="009AD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+mn-cs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EE420857-8C47-4071-91FB-64199C453FE0}"/>
              </a:ext>
            </a:extLst>
          </p:cNvPr>
          <p:cNvSpPr/>
          <p:nvPr/>
        </p:nvSpPr>
        <p:spPr bwMode="auto">
          <a:xfrm>
            <a:off x="9511589" y="2784139"/>
            <a:ext cx="1724101" cy="816816"/>
          </a:xfrm>
          <a:prstGeom prst="rect">
            <a:avLst/>
          </a:prstGeom>
          <a:solidFill>
            <a:srgbClr val="009AD8"/>
          </a:solidFill>
          <a:ln w="57150" cap="flat" cmpd="sng" algn="ctr">
            <a:solidFill>
              <a:srgbClr val="009AD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2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1" charset="-128"/>
              <a:cs typeface="+mn-cs"/>
            </a:endParaRPr>
          </a:p>
        </p:txBody>
      </p:sp>
      <p:sp>
        <p:nvSpPr>
          <p:cNvPr id="12" name="Rectángulo 13">
            <a:extLst>
              <a:ext uri="{FF2B5EF4-FFF2-40B4-BE49-F238E27FC236}">
                <a16:creationId xmlns:a16="http://schemas.microsoft.com/office/drawing/2014/main" id="{D53306EC-AB70-414E-AADA-A038FBFE8BE1}"/>
              </a:ext>
            </a:extLst>
          </p:cNvPr>
          <p:cNvSpPr>
            <a:spLocks/>
          </p:cNvSpPr>
          <p:nvPr/>
        </p:nvSpPr>
        <p:spPr bwMode="auto">
          <a:xfrm>
            <a:off x="9358228" y="2845459"/>
            <a:ext cx="2018272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00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-112" charset="-128"/>
                <a:cs typeface="+mn-cs"/>
              </a:rPr>
              <a:t>Baja natalidad en España</a:t>
            </a:r>
          </a:p>
        </p:txBody>
      </p:sp>
    </p:spTree>
    <p:extLst>
      <p:ext uri="{BB962C8B-B14F-4D97-AF65-F5344CB8AC3E}">
        <p14:creationId xmlns:p14="http://schemas.microsoft.com/office/powerpoint/2010/main" val="37687658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B9857B0C-18F9-4415-A043-FAB91E960D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Flujos migratorios</a:t>
            </a:r>
          </a:p>
        </p:txBody>
      </p:sp>
      <p:graphicFrame>
        <p:nvGraphicFramePr>
          <p:cNvPr id="9" name="Gráfico 8">
            <a:extLst>
              <a:ext uri="{FF2B5EF4-FFF2-40B4-BE49-F238E27FC236}">
                <a16:creationId xmlns:a16="http://schemas.microsoft.com/office/drawing/2014/main" id="{FBE774C1-77E7-4561-8555-AF1DD30BEB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3265123"/>
              </p:ext>
            </p:extLst>
          </p:nvPr>
        </p:nvGraphicFramePr>
        <p:xfrm>
          <a:off x="831850" y="1897697"/>
          <a:ext cx="6854825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0019D322-B616-42E4-82DB-EB52C8C37D0F}"/>
              </a:ext>
            </a:extLst>
          </p:cNvPr>
          <p:cNvSpPr txBox="1"/>
          <p:nvPr/>
        </p:nvSpPr>
        <p:spPr>
          <a:xfrm>
            <a:off x="831850" y="6217697"/>
            <a:ext cx="927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Fuente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: CaixaBank Research, a partir de </a:t>
            </a:r>
            <a:r>
              <a:rPr kumimoji="0" lang="ca-E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datos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de </a:t>
            </a:r>
            <a:r>
              <a:rPr lang="ca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2021 </a:t>
            </a:r>
            <a:r>
              <a:rPr lang="ca-ES" sz="1200" dirty="0" err="1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Ageing</a:t>
            </a:r>
            <a:r>
              <a:rPr lang="ca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 Report (</a:t>
            </a:r>
            <a:r>
              <a:rPr lang="ca-ES" sz="1200" dirty="0" err="1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Comisión</a:t>
            </a:r>
            <a:r>
              <a:rPr lang="ca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 Europea). </a:t>
            </a:r>
            <a:endParaRPr kumimoji="0" lang="ca-ES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B5921E2F-D942-4DB8-94D0-ED21EC179E2F}"/>
              </a:ext>
            </a:extLst>
          </p:cNvPr>
          <p:cNvSpPr txBox="1"/>
          <p:nvPr/>
        </p:nvSpPr>
        <p:spPr>
          <a:xfrm>
            <a:off x="831850" y="1436032"/>
            <a:ext cx="6352768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Inmigración</a:t>
            </a:r>
            <a:r>
              <a:rPr kumimoji="0" lang="ca-E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neta</a:t>
            </a:r>
            <a:endParaRPr kumimoji="0" lang="ca-ES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ca-ES" sz="12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(% de la </a:t>
            </a:r>
            <a:r>
              <a:rPr lang="ca-ES" sz="1200" dirty="0" err="1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población</a:t>
            </a:r>
            <a:r>
              <a:rPr lang="ca-ES" sz="1200" dirty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t>)</a:t>
            </a:r>
            <a:endParaRPr kumimoji="0" lang="ca-ES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827F8AE8-4F97-44A2-AE10-8BB499E98336}"/>
              </a:ext>
            </a:extLst>
          </p:cNvPr>
          <p:cNvSpPr txBox="1"/>
          <p:nvPr/>
        </p:nvSpPr>
        <p:spPr>
          <a:xfrm>
            <a:off x="8086725" y="2145347"/>
            <a:ext cx="366712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La inmigración contribuye a aumentar el tamaño de la población en edad de trabajar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s-ES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</a:endParaRP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s-ES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rPr>
              <a:t>La inmigración solo compensa el envejecimiento en el corto plazo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s-ES" b="0" u="none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</a:endParaRP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D0608781-5641-4F84-93CD-BC9A86E629F4}"/>
              </a:ext>
            </a:extLst>
          </p:cNvPr>
          <p:cNvCxnSpPr>
            <a:cxnSpLocks/>
          </p:cNvCxnSpPr>
          <p:nvPr/>
        </p:nvCxnSpPr>
        <p:spPr bwMode="auto">
          <a:xfrm>
            <a:off x="1382777" y="6141569"/>
            <a:ext cx="500561" cy="1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46998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P spid="10" grpId="0"/>
      <p:bldP spid="11" grpId="0"/>
      <p:bldP spid="1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n 26"/>
          <p:cNvPicPr>
            <a:picLocks noChangeAspect="1"/>
          </p:cNvPicPr>
          <p:nvPr/>
        </p:nvPicPr>
        <p:blipFill>
          <a:blip r:embed="rId2">
            <a:grayscl/>
          </a:blip>
          <a:stretch>
            <a:fillRect/>
          </a:stretch>
        </p:blipFill>
        <p:spPr>
          <a:xfrm>
            <a:off x="299762" y="1039140"/>
            <a:ext cx="11583404" cy="5374360"/>
          </a:xfrm>
          <a:prstGeom prst="rect">
            <a:avLst/>
          </a:prstGeom>
        </p:spPr>
      </p:pic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a-ES" dirty="0" err="1">
                <a:solidFill>
                  <a:srgbClr val="4ABDF0"/>
                </a:solidFill>
              </a:rPr>
              <a:t>Aumento</a:t>
            </a:r>
            <a:r>
              <a:rPr lang="ca-ES" dirty="0">
                <a:solidFill>
                  <a:srgbClr val="4ABDF0"/>
                </a:solidFill>
              </a:rPr>
              <a:t> de la </a:t>
            </a:r>
            <a:r>
              <a:rPr lang="ca-ES" dirty="0" err="1">
                <a:solidFill>
                  <a:srgbClr val="4ABDF0"/>
                </a:solidFill>
              </a:rPr>
              <a:t>población</a:t>
            </a:r>
            <a:r>
              <a:rPr lang="ca-ES" dirty="0">
                <a:solidFill>
                  <a:srgbClr val="4ABDF0"/>
                </a:solidFill>
              </a:rPr>
              <a:t> de </a:t>
            </a:r>
            <a:r>
              <a:rPr lang="ca-ES" dirty="0" err="1">
                <a:solidFill>
                  <a:srgbClr val="4ABDF0"/>
                </a:solidFill>
              </a:rPr>
              <a:t>edad</a:t>
            </a:r>
            <a:r>
              <a:rPr lang="ca-ES" dirty="0">
                <a:solidFill>
                  <a:srgbClr val="4ABDF0"/>
                </a:solidFill>
              </a:rPr>
              <a:t> </a:t>
            </a:r>
            <a:r>
              <a:rPr lang="ca-ES" dirty="0" err="1">
                <a:solidFill>
                  <a:srgbClr val="4ABDF0"/>
                </a:solidFill>
              </a:rPr>
              <a:t>avanzada</a:t>
            </a:r>
            <a:endParaRPr lang="es-ES" dirty="0">
              <a:solidFill>
                <a:srgbClr val="4ABDF0"/>
              </a:solidFill>
            </a:endParaRPr>
          </a:p>
        </p:txBody>
      </p:sp>
      <p:grpSp>
        <p:nvGrpSpPr>
          <p:cNvPr id="57" name="Grupo 56"/>
          <p:cNvGrpSpPr/>
          <p:nvPr/>
        </p:nvGrpSpPr>
        <p:grpSpPr>
          <a:xfrm>
            <a:off x="7275137" y="1143990"/>
            <a:ext cx="2104901" cy="5028210"/>
            <a:chOff x="7275137" y="1143990"/>
            <a:chExt cx="2104901" cy="5028210"/>
          </a:xfrm>
        </p:grpSpPr>
        <p:sp>
          <p:nvSpPr>
            <p:cNvPr id="36" name="Rectángulo 35"/>
            <p:cNvSpPr/>
            <p:nvPr/>
          </p:nvSpPr>
          <p:spPr bwMode="auto">
            <a:xfrm>
              <a:off x="7421959" y="1847602"/>
              <a:ext cx="1836000" cy="1364673"/>
            </a:xfrm>
            <a:prstGeom prst="rect">
              <a:avLst/>
            </a:prstGeom>
            <a:solidFill>
              <a:schemeClr val="accent5">
                <a:lumMod val="75000"/>
                <a:alpha val="87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+mn-cs"/>
              </a:endParaRPr>
            </a:p>
          </p:txBody>
        </p:sp>
        <p:sp>
          <p:nvSpPr>
            <p:cNvPr id="37" name="Rectángulo 36"/>
            <p:cNvSpPr/>
            <p:nvPr/>
          </p:nvSpPr>
          <p:spPr bwMode="auto">
            <a:xfrm>
              <a:off x="7421959" y="3426030"/>
              <a:ext cx="1836000" cy="1960418"/>
            </a:xfrm>
            <a:prstGeom prst="rect">
              <a:avLst/>
            </a:prstGeom>
            <a:solidFill>
              <a:srgbClr val="84C6D8">
                <a:alpha val="89804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+mn-cs"/>
              </a:endParaRPr>
            </a:p>
          </p:txBody>
        </p:sp>
        <p:sp>
          <p:nvSpPr>
            <p:cNvPr id="38" name="Rectángulo 37"/>
            <p:cNvSpPr/>
            <p:nvPr/>
          </p:nvSpPr>
          <p:spPr bwMode="auto">
            <a:xfrm>
              <a:off x="7421959" y="5513119"/>
              <a:ext cx="1836000" cy="540327"/>
            </a:xfrm>
            <a:prstGeom prst="rect">
              <a:avLst/>
            </a:prstGeom>
            <a:solidFill>
              <a:schemeClr val="accent6">
                <a:lumMod val="75000"/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+mn-cs"/>
              </a:endParaRPr>
            </a:p>
          </p:txBody>
        </p:sp>
        <p:sp>
          <p:nvSpPr>
            <p:cNvPr id="39" name="10 CuadroTexto"/>
            <p:cNvSpPr txBox="1"/>
            <p:nvPr/>
          </p:nvSpPr>
          <p:spPr>
            <a:xfrm>
              <a:off x="7925705" y="1252162"/>
              <a:ext cx="8066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400" b="1" i="0" u="none" strike="noStrike" kern="1200" cap="none" spc="0" normalizeH="0" baseline="0" noProof="0">
                  <a:ln>
                    <a:noFill/>
                  </a:ln>
                  <a:solidFill>
                    <a:srgbClr val="EDF7F7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2050</a:t>
              </a:r>
              <a:endPara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EDF7F7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Calibri" pitchFamily="34" charset="0"/>
              </a:endParaRPr>
            </a:p>
          </p:txBody>
        </p:sp>
        <p:sp>
          <p:nvSpPr>
            <p:cNvPr id="40" name="29 CuadroTexto"/>
            <p:cNvSpPr txBox="1"/>
            <p:nvPr/>
          </p:nvSpPr>
          <p:spPr>
            <a:xfrm>
              <a:off x="7878417" y="5467975"/>
              <a:ext cx="90120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17%</a:t>
              </a:r>
            </a:p>
          </p:txBody>
        </p:sp>
        <p:sp>
          <p:nvSpPr>
            <p:cNvPr id="42" name="29 CuadroTexto"/>
            <p:cNvSpPr txBox="1"/>
            <p:nvPr/>
          </p:nvSpPr>
          <p:spPr>
            <a:xfrm>
              <a:off x="7878417" y="4150771"/>
              <a:ext cx="90120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51%</a:t>
              </a:r>
            </a:p>
          </p:txBody>
        </p:sp>
        <p:sp>
          <p:nvSpPr>
            <p:cNvPr id="44" name="29 CuadroTexto"/>
            <p:cNvSpPr txBox="1"/>
            <p:nvPr/>
          </p:nvSpPr>
          <p:spPr>
            <a:xfrm>
              <a:off x="7878417" y="2228326"/>
              <a:ext cx="90120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33%</a:t>
              </a:r>
            </a:p>
          </p:txBody>
        </p:sp>
        <p:sp>
          <p:nvSpPr>
            <p:cNvPr id="46" name="36 Rectángulo"/>
            <p:cNvSpPr/>
            <p:nvPr/>
          </p:nvSpPr>
          <p:spPr>
            <a:xfrm>
              <a:off x="7275137" y="1143990"/>
              <a:ext cx="2104901" cy="5028210"/>
            </a:xfrm>
            <a:prstGeom prst="rect">
              <a:avLst/>
            </a:prstGeom>
            <a:noFill/>
            <a:ln w="6350">
              <a:solidFill>
                <a:srgbClr val="D7EEED">
                  <a:alpha val="61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  <p:grpSp>
        <p:nvGrpSpPr>
          <p:cNvPr id="56" name="Grupo 55"/>
          <p:cNvGrpSpPr/>
          <p:nvPr/>
        </p:nvGrpSpPr>
        <p:grpSpPr>
          <a:xfrm>
            <a:off x="4267049" y="1143990"/>
            <a:ext cx="2104901" cy="5028210"/>
            <a:chOff x="4267049" y="1143990"/>
            <a:chExt cx="2104901" cy="5028210"/>
          </a:xfrm>
        </p:grpSpPr>
        <p:sp>
          <p:nvSpPr>
            <p:cNvPr id="15" name="10 CuadroTexto"/>
            <p:cNvSpPr txBox="1"/>
            <p:nvPr/>
          </p:nvSpPr>
          <p:spPr>
            <a:xfrm>
              <a:off x="4898084" y="1252162"/>
              <a:ext cx="8066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DF7F7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2019</a:t>
              </a:r>
            </a:p>
          </p:txBody>
        </p:sp>
        <p:sp>
          <p:nvSpPr>
            <p:cNvPr id="33" name="Rectángulo 32"/>
            <p:cNvSpPr/>
            <p:nvPr/>
          </p:nvSpPr>
          <p:spPr bwMode="auto">
            <a:xfrm>
              <a:off x="4408070" y="1847602"/>
              <a:ext cx="1836000" cy="741219"/>
            </a:xfrm>
            <a:prstGeom prst="rect">
              <a:avLst/>
            </a:prstGeom>
            <a:solidFill>
              <a:schemeClr val="accent5">
                <a:lumMod val="75000"/>
                <a:alpha val="87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+mn-cs"/>
              </a:endParaRPr>
            </a:p>
          </p:txBody>
        </p:sp>
        <p:sp>
          <p:nvSpPr>
            <p:cNvPr id="34" name="Rectángulo 33"/>
            <p:cNvSpPr/>
            <p:nvPr/>
          </p:nvSpPr>
          <p:spPr bwMode="auto">
            <a:xfrm>
              <a:off x="4408070" y="2800197"/>
              <a:ext cx="1836000" cy="2426924"/>
            </a:xfrm>
            <a:prstGeom prst="rect">
              <a:avLst/>
            </a:prstGeom>
            <a:solidFill>
              <a:srgbClr val="84C6D8">
                <a:alpha val="89804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+mn-cs"/>
              </a:endParaRPr>
            </a:p>
          </p:txBody>
        </p:sp>
        <p:sp>
          <p:nvSpPr>
            <p:cNvPr id="35" name="Rectángulo 34"/>
            <p:cNvSpPr/>
            <p:nvPr/>
          </p:nvSpPr>
          <p:spPr bwMode="auto">
            <a:xfrm>
              <a:off x="4408070" y="5347431"/>
              <a:ext cx="1836000" cy="706015"/>
            </a:xfrm>
            <a:prstGeom prst="rect">
              <a:avLst/>
            </a:prstGeom>
            <a:solidFill>
              <a:schemeClr val="accent6">
                <a:lumMod val="75000"/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+mn-cs"/>
              </a:endParaRPr>
            </a:p>
          </p:txBody>
        </p:sp>
        <p:sp>
          <p:nvSpPr>
            <p:cNvPr id="16" name="29 CuadroTexto"/>
            <p:cNvSpPr txBox="1"/>
            <p:nvPr/>
          </p:nvSpPr>
          <p:spPr>
            <a:xfrm>
              <a:off x="4850796" y="5391775"/>
              <a:ext cx="90120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20%</a:t>
              </a:r>
            </a:p>
          </p:txBody>
        </p:sp>
        <p:sp>
          <p:nvSpPr>
            <p:cNvPr id="41" name="29 CuadroTexto"/>
            <p:cNvSpPr txBox="1"/>
            <p:nvPr/>
          </p:nvSpPr>
          <p:spPr>
            <a:xfrm>
              <a:off x="4850796" y="3660914"/>
              <a:ext cx="90120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61%</a:t>
              </a:r>
            </a:p>
          </p:txBody>
        </p:sp>
        <p:sp>
          <p:nvSpPr>
            <p:cNvPr id="43" name="29 CuadroTexto"/>
            <p:cNvSpPr txBox="1"/>
            <p:nvPr/>
          </p:nvSpPr>
          <p:spPr>
            <a:xfrm>
              <a:off x="4850797" y="1912640"/>
              <a:ext cx="90120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ca-ES" sz="3200" b="1" dirty="0">
                  <a:solidFill>
                    <a:prstClr val="white"/>
                  </a:solidFill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20</a:t>
              </a:r>
              <a:r>
                <a:rPr kumimoji="0" lang="ca-E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%</a:t>
              </a:r>
            </a:p>
          </p:txBody>
        </p:sp>
        <p:sp>
          <p:nvSpPr>
            <p:cNvPr id="47" name="36 Rectángulo"/>
            <p:cNvSpPr/>
            <p:nvPr/>
          </p:nvSpPr>
          <p:spPr>
            <a:xfrm>
              <a:off x="4267049" y="1143990"/>
              <a:ext cx="2104901" cy="5028210"/>
            </a:xfrm>
            <a:prstGeom prst="rect">
              <a:avLst/>
            </a:prstGeom>
            <a:noFill/>
            <a:ln w="6350">
              <a:solidFill>
                <a:srgbClr val="D7EEED">
                  <a:alpha val="61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  <p:grpSp>
        <p:nvGrpSpPr>
          <p:cNvPr id="58" name="Grupo 57"/>
          <p:cNvGrpSpPr/>
          <p:nvPr/>
        </p:nvGrpSpPr>
        <p:grpSpPr>
          <a:xfrm>
            <a:off x="306614" y="1913466"/>
            <a:ext cx="3606800" cy="647700"/>
            <a:chOff x="306614" y="1913466"/>
            <a:chExt cx="3606800" cy="647700"/>
          </a:xfrm>
        </p:grpSpPr>
        <p:sp>
          <p:nvSpPr>
            <p:cNvPr id="50" name="Flecha derecha 49"/>
            <p:cNvSpPr/>
            <p:nvPr/>
          </p:nvSpPr>
          <p:spPr bwMode="auto">
            <a:xfrm>
              <a:off x="306614" y="1913466"/>
              <a:ext cx="3606800" cy="647700"/>
            </a:xfrm>
            <a:prstGeom prst="rightArrow">
              <a:avLst>
                <a:gd name="adj1" fmla="val 64706"/>
                <a:gd name="adj2" fmla="val 50000"/>
              </a:avLst>
            </a:prstGeom>
            <a:solidFill>
              <a:schemeClr val="accent5">
                <a:lumMod val="75000"/>
                <a:alpha val="87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+mn-cs"/>
              </a:endParaRPr>
            </a:p>
          </p:txBody>
        </p:sp>
        <p:sp>
          <p:nvSpPr>
            <p:cNvPr id="53" name="10 CuadroTexto"/>
            <p:cNvSpPr txBox="1"/>
            <p:nvPr/>
          </p:nvSpPr>
          <p:spPr>
            <a:xfrm>
              <a:off x="555030" y="2014162"/>
              <a:ext cx="199926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DF7F7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65 </a:t>
              </a:r>
              <a:r>
                <a:rPr kumimoji="0" lang="ca-E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DF7F7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años</a:t>
              </a:r>
              <a:r>
                <a:rPr kumimoji="0" lang="ca-E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DF7F7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 o más</a:t>
              </a:r>
              <a:endPara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EDF7F7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Calibri" pitchFamily="34" charset="0"/>
              </a:endParaRPr>
            </a:p>
          </p:txBody>
        </p:sp>
      </p:grpSp>
      <p:grpSp>
        <p:nvGrpSpPr>
          <p:cNvPr id="59" name="Grupo 58"/>
          <p:cNvGrpSpPr/>
          <p:nvPr/>
        </p:nvGrpSpPr>
        <p:grpSpPr>
          <a:xfrm>
            <a:off x="306614" y="3654378"/>
            <a:ext cx="3606800" cy="647700"/>
            <a:chOff x="306614" y="3654378"/>
            <a:chExt cx="3606800" cy="647700"/>
          </a:xfrm>
        </p:grpSpPr>
        <p:sp>
          <p:nvSpPr>
            <p:cNvPr id="51" name="Flecha derecha 50"/>
            <p:cNvSpPr/>
            <p:nvPr/>
          </p:nvSpPr>
          <p:spPr bwMode="auto">
            <a:xfrm>
              <a:off x="306614" y="3654378"/>
              <a:ext cx="3606800" cy="647700"/>
            </a:xfrm>
            <a:prstGeom prst="rightArrow">
              <a:avLst>
                <a:gd name="adj1" fmla="val 64706"/>
                <a:gd name="adj2" fmla="val 50000"/>
              </a:avLst>
            </a:prstGeom>
            <a:solidFill>
              <a:srgbClr val="84C6D8">
                <a:alpha val="89804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+mn-cs"/>
              </a:endParaRPr>
            </a:p>
          </p:txBody>
        </p:sp>
        <p:sp>
          <p:nvSpPr>
            <p:cNvPr id="54" name="10 CuadroTexto"/>
            <p:cNvSpPr txBox="1"/>
            <p:nvPr/>
          </p:nvSpPr>
          <p:spPr>
            <a:xfrm>
              <a:off x="555030" y="3759367"/>
              <a:ext cx="171393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DF7F7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20 - 64 </a:t>
              </a:r>
              <a:r>
                <a:rPr kumimoji="0" lang="ca-E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DF7F7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años</a:t>
              </a:r>
              <a:endPara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EDF7F7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Calibri" pitchFamily="34" charset="0"/>
              </a:endParaRPr>
            </a:p>
          </p:txBody>
        </p:sp>
      </p:grpSp>
      <p:grpSp>
        <p:nvGrpSpPr>
          <p:cNvPr id="60" name="Grupo 59"/>
          <p:cNvGrpSpPr/>
          <p:nvPr/>
        </p:nvGrpSpPr>
        <p:grpSpPr>
          <a:xfrm>
            <a:off x="306614" y="5390794"/>
            <a:ext cx="3606800" cy="647700"/>
            <a:chOff x="306614" y="5390794"/>
            <a:chExt cx="3606800" cy="647700"/>
          </a:xfrm>
        </p:grpSpPr>
        <p:sp>
          <p:nvSpPr>
            <p:cNvPr id="52" name="Flecha derecha 51"/>
            <p:cNvSpPr/>
            <p:nvPr/>
          </p:nvSpPr>
          <p:spPr bwMode="auto">
            <a:xfrm>
              <a:off x="306614" y="5390794"/>
              <a:ext cx="3606800" cy="647700"/>
            </a:xfrm>
            <a:prstGeom prst="rightArrow">
              <a:avLst>
                <a:gd name="adj1" fmla="val 64706"/>
                <a:gd name="adj2" fmla="val 50000"/>
              </a:avLst>
            </a:prstGeom>
            <a:solidFill>
              <a:schemeClr val="accent6">
                <a:lumMod val="75000"/>
                <a:alpha val="9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2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1" charset="-128"/>
                <a:cs typeface="+mn-cs"/>
              </a:endParaRPr>
            </a:p>
          </p:txBody>
        </p:sp>
        <p:sp>
          <p:nvSpPr>
            <p:cNvPr id="55" name="10 CuadroTexto"/>
            <p:cNvSpPr txBox="1"/>
            <p:nvPr/>
          </p:nvSpPr>
          <p:spPr>
            <a:xfrm>
              <a:off x="555030" y="5488203"/>
              <a:ext cx="155844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a-E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DF7F7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0 - 20 </a:t>
              </a:r>
              <a:r>
                <a:rPr kumimoji="0" lang="ca-E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DF7F7"/>
                  </a:solidFill>
                  <a:effectLst/>
                  <a:uLnTx/>
                  <a:uFillTx/>
                  <a:latin typeface="Calibri" pitchFamily="34" charset="0"/>
                  <a:ea typeface="ＭＳ Ｐゴシック" pitchFamily="34" charset="-128"/>
                  <a:cs typeface="Calibri" pitchFamily="34" charset="0"/>
                </a:rPr>
                <a:t>años</a:t>
              </a:r>
              <a:endPara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EDF7F7"/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Calibri" pitchFamily="34" charset="0"/>
              </a:endParaRPr>
            </a:p>
          </p:txBody>
        </p:sp>
      </p:grpSp>
      <p:sp>
        <p:nvSpPr>
          <p:cNvPr id="32" name="CuadroTexto 31">
            <a:extLst>
              <a:ext uri="{FF2B5EF4-FFF2-40B4-BE49-F238E27FC236}">
                <a16:creationId xmlns:a16="http://schemas.microsoft.com/office/drawing/2014/main" id="{11CE1318-4051-4925-BE0B-E576E195A8A0}"/>
              </a:ext>
            </a:extLst>
          </p:cNvPr>
          <p:cNvSpPr txBox="1"/>
          <p:nvPr/>
        </p:nvSpPr>
        <p:spPr>
          <a:xfrm>
            <a:off x="402645" y="6396335"/>
            <a:ext cx="9279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Fuente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: CaixaBank Research, a partir de </a:t>
            </a:r>
            <a:r>
              <a:rPr kumimoji="0" lang="ca-E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datos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de </a:t>
            </a:r>
            <a:r>
              <a:rPr kumimoji="0" lang="ca-E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Ageing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Report 2021 (</a:t>
            </a:r>
            <a:r>
              <a:rPr kumimoji="0" lang="ca-E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Comisión</a:t>
            </a:r>
            <a:r>
              <a:rPr kumimoji="0" lang="ca-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itchFamily="34" charset="0"/>
                <a:ea typeface="ＭＳ Ｐゴシック" pitchFamily="34" charset="-128"/>
                <a:cs typeface="+mn-cs"/>
              </a:rPr>
              <a:t> Europea). </a:t>
            </a:r>
          </a:p>
        </p:txBody>
      </p:sp>
    </p:spTree>
    <p:extLst>
      <p:ext uri="{BB962C8B-B14F-4D97-AF65-F5344CB8AC3E}">
        <p14:creationId xmlns:p14="http://schemas.microsoft.com/office/powerpoint/2010/main" val="2800422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A47D212D-A0D8-4B46-B630-B386F08F43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ES" dirty="0"/>
              <a:t>Envejecimiento a nivel regional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061E920-0DC4-46C4-993F-C250BE5AFA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212" y="1709427"/>
            <a:ext cx="11077575" cy="4522797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CEDB4499-42AF-4097-9E64-0A7963714C4F}"/>
              </a:ext>
            </a:extLst>
          </p:cNvPr>
          <p:cNvSpPr/>
          <p:nvPr/>
        </p:nvSpPr>
        <p:spPr>
          <a:xfrm>
            <a:off x="466740" y="1179802"/>
            <a:ext cx="10996613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dirty="0">
                <a:latin typeface="Calibri" panose="020F0502020204030204" pitchFamily="34" charset="0"/>
                <a:cs typeface="Calibri" panose="020F0502020204030204" pitchFamily="34" charset="0"/>
              </a:rPr>
              <a:t>Ratio de envejecimiento</a:t>
            </a:r>
          </a:p>
          <a:p>
            <a:r>
              <a:rPr lang="es-ES" sz="1400" i="1" dirty="0">
                <a:latin typeface="Calibri" panose="020F0502020204030204" pitchFamily="34" charset="0"/>
                <a:cs typeface="Calibri" panose="020F0502020204030204" pitchFamily="34" charset="0"/>
              </a:rPr>
              <a:t>(%)</a:t>
            </a:r>
          </a:p>
          <a:p>
            <a:endParaRPr lang="es-ES" dirty="0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A4E14AD2-BBE9-4B06-8C7D-16C298796E4A}"/>
              </a:ext>
            </a:extLst>
          </p:cNvPr>
          <p:cNvSpPr/>
          <p:nvPr/>
        </p:nvSpPr>
        <p:spPr>
          <a:xfrm>
            <a:off x="557212" y="6232224"/>
            <a:ext cx="110775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20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Nota</a:t>
            </a:r>
            <a:r>
              <a:rPr lang="es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: * 1991 para Portugal. La ratio de envejecimiento se define como el número de personas mayores de 60 años dividido por el número de personas mayores de 20 años.</a:t>
            </a:r>
          </a:p>
          <a:p>
            <a:r>
              <a:rPr lang="es-ES" sz="1200" b="1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Fuente</a:t>
            </a:r>
            <a:r>
              <a:rPr lang="es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: CaixaBank Research, a partir de datos de </a:t>
            </a:r>
            <a:r>
              <a:rPr lang="es-ES" sz="1200" dirty="0" err="1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Reg</a:t>
            </a:r>
            <a:r>
              <a:rPr lang="es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 Data </a:t>
            </a:r>
            <a:r>
              <a:rPr lang="es-ES" sz="1200" dirty="0" err="1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Dem</a:t>
            </a:r>
            <a:r>
              <a:rPr lang="es-ES" sz="12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ＭＳ Ｐゴシック" pitchFamily="34" charset="-128"/>
              </a:rPr>
              <a:t> (España) y de Eurostat (Portugal)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7D4AA134-D98F-4D71-8CE1-80458D24D7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89202" y="1709427"/>
            <a:ext cx="8547517" cy="4868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04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E0Djd7jZvX5I8kkIHe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CaixaBank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7_CaixaBank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Office Theme">
  <a:themeElements>
    <a:clrScheme name="CaixaBank">
      <a:dk1>
        <a:sysClr val="windowText" lastClr="000000"/>
      </a:dk1>
      <a:lt1>
        <a:sysClr val="window" lastClr="FFFFFF"/>
      </a:lt1>
      <a:dk2>
        <a:srgbClr val="5A5B5D"/>
      </a:dk2>
      <a:lt2>
        <a:srgbClr val="F2F2F2"/>
      </a:lt2>
      <a:accent1>
        <a:srgbClr val="4ABDF0"/>
      </a:accent1>
      <a:accent2>
        <a:srgbClr val="009AD8"/>
      </a:accent2>
      <a:accent3>
        <a:srgbClr val="A4A4A4"/>
      </a:accent3>
      <a:accent4>
        <a:srgbClr val="E65A2B"/>
      </a:accent4>
      <a:accent5>
        <a:srgbClr val="F4C00E"/>
      </a:accent5>
      <a:accent6>
        <a:srgbClr val="E30613"/>
      </a:accent6>
      <a:hlink>
        <a:srgbClr val="4ABDF0"/>
      </a:hlink>
      <a:folHlink>
        <a:srgbClr val="009AD8"/>
      </a:folHlink>
    </a:clrScheme>
    <a:fontScheme name="CaixaBank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8_CaixaBank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CaixaBank_16:9_portad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6_CaixaBank_16:9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solidFill>
          <a:schemeClr val="accent1"/>
        </a:solidFill>
        <a:ln w="254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CaixaBank_16:9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solidFill>
          <a:schemeClr val="accent1"/>
        </a:solidFill>
        <a:ln w="254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0_CaixaBank_16:9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solidFill>
          <a:schemeClr val="accent1"/>
        </a:solidFill>
        <a:ln w="254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8_Office Theme">
  <a:themeElements>
    <a:clrScheme name="CaixaBank">
      <a:dk1>
        <a:sysClr val="windowText" lastClr="000000"/>
      </a:dk1>
      <a:lt1>
        <a:sysClr val="window" lastClr="FFFFFF"/>
      </a:lt1>
      <a:dk2>
        <a:srgbClr val="5A5B5D"/>
      </a:dk2>
      <a:lt2>
        <a:srgbClr val="F2F2F2"/>
      </a:lt2>
      <a:accent1>
        <a:srgbClr val="4ABDF0"/>
      </a:accent1>
      <a:accent2>
        <a:srgbClr val="009AD8"/>
      </a:accent2>
      <a:accent3>
        <a:srgbClr val="A4A4A4"/>
      </a:accent3>
      <a:accent4>
        <a:srgbClr val="E65A2B"/>
      </a:accent4>
      <a:accent5>
        <a:srgbClr val="F4C00E"/>
      </a:accent5>
      <a:accent6>
        <a:srgbClr val="E30613"/>
      </a:accent6>
      <a:hlink>
        <a:srgbClr val="4ABDF0"/>
      </a:hlink>
      <a:folHlink>
        <a:srgbClr val="009AD8"/>
      </a:folHlink>
    </a:clrScheme>
    <a:fontScheme name="CaixaBank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río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Vértice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0" smtClean="0">
            <a:latin typeface="Calibri" panose="020F0502020204030204" pitchFamily="34" charset="0"/>
          </a:defRPr>
        </a:defPPr>
      </a:lstStyle>
    </a:txDef>
  </a:objectDefaults>
  <a:extraClrSchemeLst/>
</a:theme>
</file>

<file path=ppt/theme/theme19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2_CaixaBank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2_CaixaBank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7_CaixaBank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3_CaixaBank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4_CaixaBank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5_CaixaBank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6_CaixaBank_linia baix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ción en blanc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_tradnl" sz="1200" b="1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u="none" smtClean="0">
            <a:latin typeface="Calibri" pitchFamily="34" charset="0"/>
          </a:defRPr>
        </a:defPPr>
      </a:lstStyle>
    </a:txDef>
  </a:objectDefaults>
  <a:extraClrSchemeLst>
    <a:extraClrScheme>
      <a:clrScheme name="Presentación en blanc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ción en blanc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ción en blanc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ixaBank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ABK">
    <a:dk1>
      <a:srgbClr val="000000"/>
    </a:dk1>
    <a:lt1>
      <a:srgbClr val="FFFFFF"/>
    </a:lt1>
    <a:dk2>
      <a:srgbClr val="000000"/>
    </a:dk2>
    <a:lt2>
      <a:srgbClr val="808080"/>
    </a:lt2>
    <a:accent1>
      <a:srgbClr val="009AD8"/>
    </a:accent1>
    <a:accent2>
      <a:srgbClr val="CEEDFE"/>
    </a:accent2>
    <a:accent3>
      <a:srgbClr val="D8D8D8"/>
    </a:accent3>
    <a:accent4>
      <a:srgbClr val="7F7F7F"/>
    </a:accent4>
    <a:accent5>
      <a:srgbClr val="C3E3FD"/>
    </a:accent5>
    <a:accent6>
      <a:srgbClr val="BFBFBF"/>
    </a:accent6>
    <a:hlink>
      <a:srgbClr val="009999"/>
    </a:hlink>
    <a:folHlink>
      <a:srgbClr val="99CC0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2BDCBCF1F9B5147B3AAFC586F726E3C" ma:contentTypeVersion="11" ma:contentTypeDescription="Crear nuevo documento." ma:contentTypeScope="" ma:versionID="cf0cd5afb190aa9405cd9c4f2d14d01b">
  <xsd:schema xmlns:xsd="http://www.w3.org/2001/XMLSchema" xmlns:xs="http://www.w3.org/2001/XMLSchema" xmlns:p="http://schemas.microsoft.com/office/2006/metadata/properties" xmlns:ns2="94450fdf-70a3-4dcb-944c-3e2e05d24f2d" xmlns:ns3="627f9abf-9168-4a0f-b271-e0092e4d338e" targetNamespace="http://schemas.microsoft.com/office/2006/metadata/properties" ma:root="true" ma:fieldsID="0d0a1231a9b3b65a29122bc55fb683cf" ns2:_="" ns3:_="">
    <xsd:import namespace="94450fdf-70a3-4dcb-944c-3e2e05d24f2d"/>
    <xsd:import namespace="627f9abf-9168-4a0f-b271-e0092e4d33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450fdf-70a3-4dcb-944c-3e2e05d24f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7f9abf-9168-4a0f-b271-e0092e4d338e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678F2DD-D4AF-4BC5-B989-D35985BBC9F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03F9520-B470-48EA-ABE7-ADD86B00C656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3be67103-1546-44e3-9d61-50b1b25396bf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6EEC491-34B1-4CBE-905C-8B2B9F96D316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41</TotalTime>
  <Words>1636</Words>
  <Application>Microsoft Office PowerPoint</Application>
  <PresentationFormat>Panorámica</PresentationFormat>
  <Paragraphs>236</Paragraphs>
  <Slides>27</Slides>
  <Notes>12</Notes>
  <HiddenSlides>0</HiddenSlides>
  <MMClips>0</MMClips>
  <ScaleCrop>false</ScaleCrop>
  <HeadingPairs>
    <vt:vector size="8" baseType="variant">
      <vt:variant>
        <vt:lpstr>Fuentes usadas</vt:lpstr>
      </vt:variant>
      <vt:variant>
        <vt:i4>11</vt:i4>
      </vt:variant>
      <vt:variant>
        <vt:lpstr>Tema</vt:lpstr>
      </vt:variant>
      <vt:variant>
        <vt:i4>1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57" baseType="lpstr">
      <vt:lpstr>Arial</vt:lpstr>
      <vt:lpstr>Calibri</vt:lpstr>
      <vt:lpstr>Calibri Light</vt:lpstr>
      <vt:lpstr>Cambria Math</vt:lpstr>
      <vt:lpstr>Century Gothic</vt:lpstr>
      <vt:lpstr>Courier New</vt:lpstr>
      <vt:lpstr>Segoe UI</vt:lpstr>
      <vt:lpstr>Segoe UI Light</vt:lpstr>
      <vt:lpstr>Segoe UI Semibold</vt:lpstr>
      <vt:lpstr>Segoe UI Semilight</vt:lpstr>
      <vt:lpstr>Wingdings</vt:lpstr>
      <vt:lpstr>11_CaixaBank_linia baixa</vt:lpstr>
      <vt:lpstr>12_CaixaBank_linia baixa</vt:lpstr>
      <vt:lpstr>22_CaixaBank_linia baixa</vt:lpstr>
      <vt:lpstr>27_CaixaBank_linia baixa</vt:lpstr>
      <vt:lpstr>13_CaixaBank_linia baixa</vt:lpstr>
      <vt:lpstr>14_CaixaBank_linia baixa</vt:lpstr>
      <vt:lpstr>15_CaixaBank_linia baixa</vt:lpstr>
      <vt:lpstr>16_CaixaBank_linia baixa</vt:lpstr>
      <vt:lpstr>Office Theme</vt:lpstr>
      <vt:lpstr>17_CaixaBank_linia baixa</vt:lpstr>
      <vt:lpstr>7_Office Theme</vt:lpstr>
      <vt:lpstr>18_CaixaBank_linia baixa</vt:lpstr>
      <vt:lpstr>CaixaBank_16:9_portada</vt:lpstr>
      <vt:lpstr>6_CaixaBank_16:9_linia baixa</vt:lpstr>
      <vt:lpstr>CaixaBank_16:9_linia baixa</vt:lpstr>
      <vt:lpstr>10_CaixaBank_16:9_linia baixa</vt:lpstr>
      <vt:lpstr>8_Office Theme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Aumento diario de la esperanza de vida entre 2015-2030*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strategia Empírica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LISABETH ROSA TABIOS</dc:creator>
  <cp:lastModifiedBy>JOSEP MESTRES DOMENECH</cp:lastModifiedBy>
  <cp:revision>1037</cp:revision>
  <cp:lastPrinted>2020-11-19T11:04:09Z</cp:lastPrinted>
  <dcterms:created xsi:type="dcterms:W3CDTF">2020-10-15T10:38:35Z</dcterms:created>
  <dcterms:modified xsi:type="dcterms:W3CDTF">2021-11-14T18:0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BDCBCF1F9B5147B3AAFC586F726E3C</vt:lpwstr>
  </property>
  <property fmtid="{D5CDD505-2E9C-101B-9397-08002B2CF9AE}" pid="3" name="MSIP_Label_7d9912f0-ab1a-4ab8-8342-69e9e8d161fb_Enabled">
    <vt:lpwstr>true</vt:lpwstr>
  </property>
  <property fmtid="{D5CDD505-2E9C-101B-9397-08002B2CF9AE}" pid="4" name="MSIP_Label_7d9912f0-ab1a-4ab8-8342-69e9e8d161fb_SetDate">
    <vt:lpwstr>2021-04-14T17:25:59Z</vt:lpwstr>
  </property>
  <property fmtid="{D5CDD505-2E9C-101B-9397-08002B2CF9AE}" pid="5" name="MSIP_Label_7d9912f0-ab1a-4ab8-8342-69e9e8d161fb_Method">
    <vt:lpwstr>Standard</vt:lpwstr>
  </property>
  <property fmtid="{D5CDD505-2E9C-101B-9397-08002B2CF9AE}" pid="6" name="MSIP_Label_7d9912f0-ab1a-4ab8-8342-69e9e8d161fb_Name">
    <vt:lpwstr>General</vt:lpwstr>
  </property>
  <property fmtid="{D5CDD505-2E9C-101B-9397-08002B2CF9AE}" pid="7" name="MSIP_Label_7d9912f0-ab1a-4ab8-8342-69e9e8d161fb_SiteId">
    <vt:lpwstr>948ae8fb-b102-4e04-96f5-ca4f1fd6bdc6</vt:lpwstr>
  </property>
  <property fmtid="{D5CDD505-2E9C-101B-9397-08002B2CF9AE}" pid="8" name="MSIP_Label_7d9912f0-ab1a-4ab8-8342-69e9e8d161fb_ActionId">
    <vt:lpwstr>474ec3c2-2724-4435-a724-bfe66a3a91bb</vt:lpwstr>
  </property>
  <property fmtid="{D5CDD505-2E9C-101B-9397-08002B2CF9AE}" pid="9" name="MSIP_Label_7d9912f0-ab1a-4ab8-8342-69e9e8d161fb_ContentBits">
    <vt:lpwstr>0</vt:lpwstr>
  </property>
</Properties>
</file>